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145" r:id="rId12"/>
  </p:sldMasterIdLst>
  <p:notesMasterIdLst>
    <p:notesMasterId r:id="rId25"/>
  </p:notesMasterIdLst>
  <p:handoutMasterIdLst>
    <p:handoutMasterId r:id="rId26"/>
  </p:handoutMasterIdLst>
  <p:sldIdLst>
    <p:sldId id="437" r:id="rId13"/>
    <p:sldId id="441" r:id="rId14"/>
    <p:sldId id="440" r:id="rId15"/>
    <p:sldId id="266" r:id="rId16"/>
    <p:sldId id="261" r:id="rId17"/>
    <p:sldId id="259" r:id="rId18"/>
    <p:sldId id="446" r:id="rId19"/>
    <p:sldId id="445" r:id="rId20"/>
    <p:sldId id="264" r:id="rId21"/>
    <p:sldId id="443" r:id="rId22"/>
    <p:sldId id="442" r:id="rId23"/>
    <p:sldId id="444" r:id="rId24"/>
  </p:sldIdLst>
  <p:sldSz cx="12192000" cy="6858000"/>
  <p:notesSz cx="7315200" cy="9601200"/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5B4D1D21-6890-3E4F-F336-2611F7B6722C}" name="Schulfer, Gretchen" initials="SG" userId="S::gschulfer@deloitte.com::c352446a-8589-4ce1-8481-21152826811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3565B"/>
    <a:srgbClr val="D0D0CE"/>
    <a:srgbClr val="26890D"/>
    <a:srgbClr val="000000"/>
    <a:srgbClr val="046A38"/>
    <a:srgbClr val="FFCD00"/>
    <a:srgbClr val="ED8B00"/>
    <a:srgbClr val="DB291C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3" autoAdjust="0"/>
    <p:restoredTop sz="94731" autoAdjust="0"/>
  </p:normalViewPr>
  <p:slideViewPr>
    <p:cSldViewPr snapToGrid="0" showGuides="1">
      <p:cViewPr varScale="1">
        <p:scale>
          <a:sx n="111" d="100"/>
          <a:sy n="111" d="100"/>
        </p:scale>
        <p:origin x="390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microsoft.com/office/2018/10/relationships/authors" Target="authors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5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2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commentAuthors" Target="commentAuthors.xml"/><Relationship Id="rId10" Type="http://schemas.openxmlformats.org/officeDocument/2006/relationships/customXml" Target="../customXml/item10.xml"/><Relationship Id="rId19" Type="http://schemas.openxmlformats.org/officeDocument/2006/relationships/slide" Target="slides/slide7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customXml" Target="../customXml/item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rgqvist, Anna" userId="b0b899fe-8a65-4510-a4e5-543f8918d854" providerId="ADAL" clId="{D485F1D1-07DB-42AC-9118-532499B5F3A6}"/>
    <pc:docChg chg="custSel modMainMaster">
      <pc:chgData name="Bergqvist, Anna" userId="b0b899fe-8a65-4510-a4e5-543f8918d854" providerId="ADAL" clId="{D485F1D1-07DB-42AC-9118-532499B5F3A6}" dt="2026-04-20T10:54:12.672" v="21" actId="139"/>
      <pc:docMkLst>
        <pc:docMk/>
      </pc:docMkLst>
      <pc:sldMasterChg chg="modSp mod modSldLayout">
        <pc:chgData name="Bergqvist, Anna" userId="b0b899fe-8a65-4510-a4e5-543f8918d854" providerId="ADAL" clId="{D485F1D1-07DB-42AC-9118-532499B5F3A6}" dt="2026-04-20T10:54:12.672" v="21" actId="139"/>
        <pc:sldMasterMkLst>
          <pc:docMk/>
          <pc:sldMasterMk cId="1853039400" sldId="2147484145"/>
        </pc:sldMasterMkLst>
        <pc:spChg chg="mod">
          <ac:chgData name="Bergqvist, Anna" userId="b0b899fe-8a65-4510-a4e5-543f8918d854" providerId="ADAL" clId="{D485F1D1-07DB-42AC-9118-532499B5F3A6}" dt="2026-04-20T10:54:12.589" v="1" actId="139"/>
          <ac:spMkLst>
            <pc:docMk/>
            <pc:sldMasterMk cId="1853039400" sldId="2147484145"/>
            <ac:spMk id="7" creationId="{A2A10F3B-8823-12E8-86E8-A72379C476F9}"/>
          </ac:spMkLst>
        </pc:spChg>
        <pc:sldLayoutChg chg="modSp mod">
          <pc:chgData name="Bergqvist, Anna" userId="b0b899fe-8a65-4510-a4e5-543f8918d854" providerId="ADAL" clId="{D485F1D1-07DB-42AC-9118-532499B5F3A6}" dt="2026-04-20T10:54:12.618" v="5" actId="139"/>
          <pc:sldLayoutMkLst>
            <pc:docMk/>
            <pc:sldMasterMk cId="1853039400" sldId="2147484145"/>
            <pc:sldLayoutMk cId="521971579" sldId="2147483994"/>
          </pc:sldLayoutMkLst>
          <pc:spChg chg="mod">
            <ac:chgData name="Bergqvist, Anna" userId="b0b899fe-8a65-4510-a4e5-543f8918d854" providerId="ADAL" clId="{D485F1D1-07DB-42AC-9118-532499B5F3A6}" dt="2026-04-20T10:54:12.618" v="5" actId="139"/>
            <ac:spMkLst>
              <pc:docMk/>
              <pc:sldMasterMk cId="1853039400" sldId="2147484145"/>
              <pc:sldLayoutMk cId="521971579" sldId="2147483994"/>
              <ac:spMk id="7" creationId="{C9DA7256-D510-92DC-2C86-BADDCDF98344}"/>
            </ac:spMkLst>
          </pc:spChg>
        </pc:sldLayoutChg>
        <pc:sldLayoutChg chg="modSp mod">
          <pc:chgData name="Bergqvist, Anna" userId="b0b899fe-8a65-4510-a4e5-543f8918d854" providerId="ADAL" clId="{D485F1D1-07DB-42AC-9118-532499B5F3A6}" dt="2026-04-20T10:54:12.626" v="9" actId="139"/>
          <pc:sldLayoutMkLst>
            <pc:docMk/>
            <pc:sldMasterMk cId="1853039400" sldId="2147484145"/>
            <pc:sldLayoutMk cId="205482005" sldId="2147483995"/>
          </pc:sldLayoutMkLst>
          <pc:spChg chg="mod">
            <ac:chgData name="Bergqvist, Anna" userId="b0b899fe-8a65-4510-a4e5-543f8918d854" providerId="ADAL" clId="{D485F1D1-07DB-42AC-9118-532499B5F3A6}" dt="2026-04-20T10:54:12.626" v="9" actId="139"/>
            <ac:spMkLst>
              <pc:docMk/>
              <pc:sldMasterMk cId="1853039400" sldId="2147484145"/>
              <pc:sldLayoutMk cId="205482005" sldId="2147483995"/>
              <ac:spMk id="5" creationId="{1B08B9FD-6C5B-A161-D2D5-7A82E9DB3DB5}"/>
            </ac:spMkLst>
          </pc:spChg>
        </pc:sldLayoutChg>
        <pc:sldLayoutChg chg="modSp mod">
          <pc:chgData name="Bergqvist, Anna" userId="b0b899fe-8a65-4510-a4e5-543f8918d854" providerId="ADAL" clId="{D485F1D1-07DB-42AC-9118-532499B5F3A6}" dt="2026-04-20T10:54:12.622" v="7" actId="139"/>
          <pc:sldLayoutMkLst>
            <pc:docMk/>
            <pc:sldMasterMk cId="1853039400" sldId="2147484145"/>
            <pc:sldLayoutMk cId="2179334884" sldId="2147483996"/>
          </pc:sldLayoutMkLst>
          <pc:spChg chg="mod">
            <ac:chgData name="Bergqvist, Anna" userId="b0b899fe-8a65-4510-a4e5-543f8918d854" providerId="ADAL" clId="{D485F1D1-07DB-42AC-9118-532499B5F3A6}" dt="2026-04-20T10:54:12.622" v="7" actId="139"/>
            <ac:spMkLst>
              <pc:docMk/>
              <pc:sldMasterMk cId="1853039400" sldId="2147484145"/>
              <pc:sldLayoutMk cId="2179334884" sldId="2147483996"/>
              <ac:spMk id="7" creationId="{7F726BD5-32D1-0C8B-8B78-0C130D87BDB9}"/>
            </ac:spMkLst>
          </pc:spChg>
        </pc:sldLayoutChg>
        <pc:sldLayoutChg chg="modSp mod">
          <pc:chgData name="Bergqvist, Anna" userId="b0b899fe-8a65-4510-a4e5-543f8918d854" providerId="ADAL" clId="{D485F1D1-07DB-42AC-9118-532499B5F3A6}" dt="2026-04-20T10:54:12.651" v="13" actId="139"/>
          <pc:sldLayoutMkLst>
            <pc:docMk/>
            <pc:sldMasterMk cId="1853039400" sldId="2147484145"/>
            <pc:sldLayoutMk cId="3884655732" sldId="2147484011"/>
          </pc:sldLayoutMkLst>
          <pc:spChg chg="mod">
            <ac:chgData name="Bergqvist, Anna" userId="b0b899fe-8a65-4510-a4e5-543f8918d854" providerId="ADAL" clId="{D485F1D1-07DB-42AC-9118-532499B5F3A6}" dt="2026-04-20T10:54:12.651" v="13" actId="139"/>
            <ac:spMkLst>
              <pc:docMk/>
              <pc:sldMasterMk cId="1853039400" sldId="2147484145"/>
              <pc:sldLayoutMk cId="3884655732" sldId="2147484011"/>
              <ac:spMk id="2" creationId="{6ABC41BE-28A6-9BCC-C7A6-7CDAA1375BC5}"/>
            </ac:spMkLst>
          </pc:spChg>
        </pc:sldLayoutChg>
        <pc:sldLayoutChg chg="modSp mod">
          <pc:chgData name="Bergqvist, Anna" userId="b0b899fe-8a65-4510-a4e5-543f8918d854" providerId="ADAL" clId="{D485F1D1-07DB-42AC-9118-532499B5F3A6}" dt="2026-04-20T10:54:12.656" v="15" actId="139"/>
          <pc:sldLayoutMkLst>
            <pc:docMk/>
            <pc:sldMasterMk cId="1853039400" sldId="2147484145"/>
            <pc:sldLayoutMk cId="218429982" sldId="2147484013"/>
          </pc:sldLayoutMkLst>
          <pc:spChg chg="mod">
            <ac:chgData name="Bergqvist, Anna" userId="b0b899fe-8a65-4510-a4e5-543f8918d854" providerId="ADAL" clId="{D485F1D1-07DB-42AC-9118-532499B5F3A6}" dt="2026-04-20T10:54:12.656" v="15" actId="139"/>
            <ac:spMkLst>
              <pc:docMk/>
              <pc:sldMasterMk cId="1853039400" sldId="2147484145"/>
              <pc:sldLayoutMk cId="218429982" sldId="2147484013"/>
              <ac:spMk id="2" creationId="{45C8B7CD-557D-AB03-3A93-FC41C9810FE1}"/>
            </ac:spMkLst>
          </pc:spChg>
        </pc:sldLayoutChg>
        <pc:sldLayoutChg chg="modSp mod">
          <pc:chgData name="Bergqvist, Anna" userId="b0b899fe-8a65-4510-a4e5-543f8918d854" providerId="ADAL" clId="{D485F1D1-07DB-42AC-9118-532499B5F3A6}" dt="2026-04-20T10:54:12.661" v="17" actId="139"/>
          <pc:sldLayoutMkLst>
            <pc:docMk/>
            <pc:sldMasterMk cId="1853039400" sldId="2147484145"/>
            <pc:sldLayoutMk cId="3896366125" sldId="2147484014"/>
          </pc:sldLayoutMkLst>
          <pc:spChg chg="mod">
            <ac:chgData name="Bergqvist, Anna" userId="b0b899fe-8a65-4510-a4e5-543f8918d854" providerId="ADAL" clId="{D485F1D1-07DB-42AC-9118-532499B5F3A6}" dt="2026-04-20T10:54:12.661" v="17" actId="139"/>
            <ac:spMkLst>
              <pc:docMk/>
              <pc:sldMasterMk cId="1853039400" sldId="2147484145"/>
              <pc:sldLayoutMk cId="3896366125" sldId="2147484014"/>
              <ac:spMk id="4" creationId="{ECE87BF9-0ECB-E651-2ED5-BB50442CDB41}"/>
            </ac:spMkLst>
          </pc:spChg>
        </pc:sldLayoutChg>
        <pc:sldLayoutChg chg="modSp mod">
          <pc:chgData name="Bergqvist, Anna" userId="b0b899fe-8a65-4510-a4e5-543f8918d854" providerId="ADAL" clId="{D485F1D1-07DB-42AC-9118-532499B5F3A6}" dt="2026-04-20T10:54:12.667" v="19" actId="139"/>
          <pc:sldLayoutMkLst>
            <pc:docMk/>
            <pc:sldMasterMk cId="1853039400" sldId="2147484145"/>
            <pc:sldLayoutMk cId="753278530" sldId="2147484015"/>
          </pc:sldLayoutMkLst>
          <pc:spChg chg="mod">
            <ac:chgData name="Bergqvist, Anna" userId="b0b899fe-8a65-4510-a4e5-543f8918d854" providerId="ADAL" clId="{D485F1D1-07DB-42AC-9118-532499B5F3A6}" dt="2026-04-20T10:54:12.667" v="19" actId="139"/>
            <ac:spMkLst>
              <pc:docMk/>
              <pc:sldMasterMk cId="1853039400" sldId="2147484145"/>
              <pc:sldLayoutMk cId="753278530" sldId="2147484015"/>
              <ac:spMk id="6" creationId="{E599BEF7-FA4C-7085-1465-2963E0C97BE6}"/>
            </ac:spMkLst>
          </pc:spChg>
        </pc:sldLayoutChg>
        <pc:sldLayoutChg chg="modSp mod">
          <pc:chgData name="Bergqvist, Anna" userId="b0b899fe-8a65-4510-a4e5-543f8918d854" providerId="ADAL" clId="{D485F1D1-07DB-42AC-9118-532499B5F3A6}" dt="2026-04-20T10:54:12.672" v="21" actId="139"/>
          <pc:sldLayoutMkLst>
            <pc:docMk/>
            <pc:sldMasterMk cId="1853039400" sldId="2147484145"/>
            <pc:sldLayoutMk cId="2734513497" sldId="2147484016"/>
          </pc:sldLayoutMkLst>
          <pc:spChg chg="mod">
            <ac:chgData name="Bergqvist, Anna" userId="b0b899fe-8a65-4510-a4e5-543f8918d854" providerId="ADAL" clId="{D485F1D1-07DB-42AC-9118-532499B5F3A6}" dt="2026-04-20T10:54:12.672" v="21" actId="139"/>
            <ac:spMkLst>
              <pc:docMk/>
              <pc:sldMasterMk cId="1853039400" sldId="2147484145"/>
              <pc:sldLayoutMk cId="2734513497" sldId="2147484016"/>
              <ac:spMk id="6" creationId="{992FC042-C0BB-6E87-173C-9C7D896B28CC}"/>
            </ac:spMkLst>
          </pc:spChg>
        </pc:sldLayoutChg>
        <pc:sldLayoutChg chg="modSp mod">
          <pc:chgData name="Bergqvist, Anna" userId="b0b899fe-8a65-4510-a4e5-543f8918d854" providerId="ADAL" clId="{D485F1D1-07DB-42AC-9118-532499B5F3A6}" dt="2026-04-20T10:54:12.631" v="11" actId="139"/>
          <pc:sldLayoutMkLst>
            <pc:docMk/>
            <pc:sldMasterMk cId="1853039400" sldId="2147484145"/>
            <pc:sldLayoutMk cId="3034022320" sldId="2147484017"/>
          </pc:sldLayoutMkLst>
          <pc:spChg chg="mod">
            <ac:chgData name="Bergqvist, Anna" userId="b0b899fe-8a65-4510-a4e5-543f8918d854" providerId="ADAL" clId="{D485F1D1-07DB-42AC-9118-532499B5F3A6}" dt="2026-04-20T10:54:12.631" v="11" actId="139"/>
            <ac:spMkLst>
              <pc:docMk/>
              <pc:sldMasterMk cId="1853039400" sldId="2147484145"/>
              <pc:sldLayoutMk cId="3034022320" sldId="2147484017"/>
              <ac:spMk id="7" creationId="{8193DA32-ECFC-82C3-679D-D0FF934F1F2A}"/>
            </ac:spMkLst>
          </pc:spChg>
        </pc:sldLayoutChg>
        <pc:sldLayoutChg chg="modSp mod">
          <pc:chgData name="Bergqvist, Anna" userId="b0b899fe-8a65-4510-a4e5-543f8918d854" providerId="ADAL" clId="{D485F1D1-07DB-42AC-9118-532499B5F3A6}" dt="2026-04-20T10:54:12.613" v="3" actId="139"/>
          <pc:sldLayoutMkLst>
            <pc:docMk/>
            <pc:sldMasterMk cId="1853039400" sldId="2147484145"/>
            <pc:sldLayoutMk cId="1186284586" sldId="2147484019"/>
          </pc:sldLayoutMkLst>
          <pc:spChg chg="mod">
            <ac:chgData name="Bergqvist, Anna" userId="b0b899fe-8a65-4510-a4e5-543f8918d854" providerId="ADAL" clId="{D485F1D1-07DB-42AC-9118-532499B5F3A6}" dt="2026-04-20T10:54:12.613" v="3" actId="139"/>
            <ac:spMkLst>
              <pc:docMk/>
              <pc:sldMasterMk cId="1853039400" sldId="2147484145"/>
              <pc:sldLayoutMk cId="1186284586" sldId="2147484019"/>
              <ac:spMk id="5" creationId="{62398D06-C488-9DDB-E248-1C4BC1724227}"/>
            </ac:spMkLst>
          </pc:spChg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9B39CD0-0E7D-4790-825C-295CDA5ABE0C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BFF4D968-42F2-4306-B543-68AA72E038E7}">
      <dgm:prSet/>
      <dgm:spPr/>
      <dgm:t>
        <a:bodyPr/>
        <a:lstStyle/>
        <a:p>
          <a:r>
            <a:rPr lang="en-US" dirty="0"/>
            <a:t>2st </a:t>
          </a:r>
          <a:r>
            <a:rPr lang="en-US" dirty="0" err="1"/>
            <a:t>fasta</a:t>
          </a:r>
          <a:r>
            <a:rPr lang="en-US" dirty="0"/>
            <a:t> 9-mannalag </a:t>
          </a:r>
          <a:r>
            <a:rPr lang="en-US" dirty="0" err="1"/>
            <a:t>i</a:t>
          </a:r>
          <a:r>
            <a:rPr lang="en-US" dirty="0"/>
            <a:t> </a:t>
          </a:r>
          <a:r>
            <a:rPr lang="en-US" dirty="0" err="1"/>
            <a:t>seriespelet</a:t>
          </a:r>
          <a:endParaRPr lang="en-US" dirty="0"/>
        </a:p>
      </dgm:t>
    </dgm:pt>
    <dgm:pt modelId="{DECF1E00-3EFF-405E-ACE3-27399461A20A}" type="parTrans" cxnId="{9DC6D984-9C7E-4F64-9CDC-F1947042EB2F}">
      <dgm:prSet/>
      <dgm:spPr/>
      <dgm:t>
        <a:bodyPr/>
        <a:lstStyle/>
        <a:p>
          <a:endParaRPr lang="en-US"/>
        </a:p>
      </dgm:t>
    </dgm:pt>
    <dgm:pt modelId="{4F1AA69C-9E2E-4D8B-BE5A-6C7EB7E13A92}" type="sibTrans" cxnId="{9DC6D984-9C7E-4F64-9CDC-F1947042EB2F}">
      <dgm:prSet/>
      <dgm:spPr/>
      <dgm:t>
        <a:bodyPr/>
        <a:lstStyle/>
        <a:p>
          <a:endParaRPr lang="en-US"/>
        </a:p>
      </dgm:t>
    </dgm:pt>
    <dgm:pt modelId="{3D5BEF0F-469B-48D8-91AC-EFB6AFB4528D}">
      <dgm:prSet/>
      <dgm:spPr/>
      <dgm:t>
        <a:bodyPr/>
        <a:lstStyle/>
        <a:p>
          <a:r>
            <a:rPr lang="en-US" dirty="0"/>
            <a:t>2st 5-mannalag Futsal</a:t>
          </a:r>
          <a:r>
            <a:rPr lang="en-US" baseline="0" dirty="0"/>
            <a:t> </a:t>
          </a:r>
          <a:endParaRPr lang="en-US" dirty="0"/>
        </a:p>
      </dgm:t>
    </dgm:pt>
    <dgm:pt modelId="{E34B6EEF-E412-4F83-A7C5-D7B71FC6D1D0}" type="parTrans" cxnId="{86AA740B-ADA3-4556-834F-45F687612FC6}">
      <dgm:prSet/>
      <dgm:spPr/>
      <dgm:t>
        <a:bodyPr/>
        <a:lstStyle/>
        <a:p>
          <a:endParaRPr lang="en-US"/>
        </a:p>
      </dgm:t>
    </dgm:pt>
    <dgm:pt modelId="{9F6D6ABE-994F-426F-9C69-2393A59A654F}" type="sibTrans" cxnId="{86AA740B-ADA3-4556-834F-45F687612FC6}">
      <dgm:prSet/>
      <dgm:spPr/>
      <dgm:t>
        <a:bodyPr/>
        <a:lstStyle/>
        <a:p>
          <a:endParaRPr lang="en-US"/>
        </a:p>
      </dgm:t>
    </dgm:pt>
    <dgm:pt modelId="{A94466C2-CB24-46F9-8C20-D5FB789841DD}" type="pres">
      <dgm:prSet presAssocID="{29B39CD0-0E7D-4790-825C-295CDA5ABE0C}" presName="root" presStyleCnt="0">
        <dgm:presLayoutVars>
          <dgm:dir/>
          <dgm:resizeHandles val="exact"/>
        </dgm:presLayoutVars>
      </dgm:prSet>
      <dgm:spPr/>
    </dgm:pt>
    <dgm:pt modelId="{0FC2C33B-C70E-4824-9171-2F95CAFB8F3D}" type="pres">
      <dgm:prSet presAssocID="{BFF4D968-42F2-4306-B543-68AA72E038E7}" presName="compNode" presStyleCnt="0"/>
      <dgm:spPr/>
    </dgm:pt>
    <dgm:pt modelId="{17CC6806-57BA-40AF-9AAA-A079EE2E818A}" type="pres">
      <dgm:prSet presAssocID="{BFF4D968-42F2-4306-B543-68AA72E038E7}" presName="bgRect" presStyleLbl="bgShp" presStyleIdx="0" presStyleCnt="2"/>
      <dgm:spPr/>
    </dgm:pt>
    <dgm:pt modelId="{702B342D-40F4-4480-A5DB-A85D33385A62}" type="pres">
      <dgm:prSet presAssocID="{BFF4D968-42F2-4306-B543-68AA72E038E7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ispokal"/>
        </a:ext>
      </dgm:extLst>
    </dgm:pt>
    <dgm:pt modelId="{413ED0DE-A836-47C6-BACE-A300362FC3A4}" type="pres">
      <dgm:prSet presAssocID="{BFF4D968-42F2-4306-B543-68AA72E038E7}" presName="spaceRect" presStyleCnt="0"/>
      <dgm:spPr/>
    </dgm:pt>
    <dgm:pt modelId="{85B5D922-75DE-4CA3-A328-35BD3D7763D5}" type="pres">
      <dgm:prSet presAssocID="{BFF4D968-42F2-4306-B543-68AA72E038E7}" presName="parTx" presStyleLbl="revTx" presStyleIdx="0" presStyleCnt="2">
        <dgm:presLayoutVars>
          <dgm:chMax val="0"/>
          <dgm:chPref val="0"/>
        </dgm:presLayoutVars>
      </dgm:prSet>
      <dgm:spPr/>
    </dgm:pt>
    <dgm:pt modelId="{921E4106-AED7-4754-863C-610BABECDC5E}" type="pres">
      <dgm:prSet presAssocID="{4F1AA69C-9E2E-4D8B-BE5A-6C7EB7E13A92}" presName="sibTrans" presStyleCnt="0"/>
      <dgm:spPr/>
    </dgm:pt>
    <dgm:pt modelId="{5EB0E9F0-42F5-4D60-824C-3F91FA077739}" type="pres">
      <dgm:prSet presAssocID="{3D5BEF0F-469B-48D8-91AC-EFB6AFB4528D}" presName="compNode" presStyleCnt="0"/>
      <dgm:spPr/>
    </dgm:pt>
    <dgm:pt modelId="{AAF69DC6-5114-4551-AC90-ED4583B4DA7A}" type="pres">
      <dgm:prSet presAssocID="{3D5BEF0F-469B-48D8-91AC-EFB6AFB4528D}" presName="bgRect" presStyleLbl="bgShp" presStyleIdx="1" presStyleCnt="2" custLinFactNeighborX="-393" custLinFactNeighborY="2638"/>
      <dgm:spPr/>
    </dgm:pt>
    <dgm:pt modelId="{01669704-6FBE-4ECC-9896-53A1AF667A02}" type="pres">
      <dgm:prSet presAssocID="{3D5BEF0F-469B-48D8-91AC-EFB6AFB4528D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nöflinga"/>
        </a:ext>
      </dgm:extLst>
    </dgm:pt>
    <dgm:pt modelId="{270B23B3-1E71-4F31-AE8B-250FE0A765A1}" type="pres">
      <dgm:prSet presAssocID="{3D5BEF0F-469B-48D8-91AC-EFB6AFB4528D}" presName="spaceRect" presStyleCnt="0"/>
      <dgm:spPr/>
    </dgm:pt>
    <dgm:pt modelId="{ACF9497B-F6F5-4380-A1FD-41B3A6F88221}" type="pres">
      <dgm:prSet presAssocID="{3D5BEF0F-469B-48D8-91AC-EFB6AFB4528D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86AA740B-ADA3-4556-834F-45F687612FC6}" srcId="{29B39CD0-0E7D-4790-825C-295CDA5ABE0C}" destId="{3D5BEF0F-469B-48D8-91AC-EFB6AFB4528D}" srcOrd="1" destOrd="0" parTransId="{E34B6EEF-E412-4F83-A7C5-D7B71FC6D1D0}" sibTransId="{9F6D6ABE-994F-426F-9C69-2393A59A654F}"/>
    <dgm:cxn modelId="{688E2E75-CC88-4A3A-B386-2B55499EF968}" type="presOf" srcId="{3D5BEF0F-469B-48D8-91AC-EFB6AFB4528D}" destId="{ACF9497B-F6F5-4380-A1FD-41B3A6F88221}" srcOrd="0" destOrd="0" presId="urn:microsoft.com/office/officeart/2018/2/layout/IconVerticalSolidList"/>
    <dgm:cxn modelId="{BB099B7B-1D19-4F0F-B6F8-F3078FC2BD9A}" type="presOf" srcId="{29B39CD0-0E7D-4790-825C-295CDA5ABE0C}" destId="{A94466C2-CB24-46F9-8C20-D5FB789841DD}" srcOrd="0" destOrd="0" presId="urn:microsoft.com/office/officeart/2018/2/layout/IconVerticalSolidList"/>
    <dgm:cxn modelId="{FF41EE82-CD90-4228-83B2-F1AD4B7539C2}" type="presOf" srcId="{BFF4D968-42F2-4306-B543-68AA72E038E7}" destId="{85B5D922-75DE-4CA3-A328-35BD3D7763D5}" srcOrd="0" destOrd="0" presId="urn:microsoft.com/office/officeart/2018/2/layout/IconVerticalSolidList"/>
    <dgm:cxn modelId="{9DC6D984-9C7E-4F64-9CDC-F1947042EB2F}" srcId="{29B39CD0-0E7D-4790-825C-295CDA5ABE0C}" destId="{BFF4D968-42F2-4306-B543-68AA72E038E7}" srcOrd="0" destOrd="0" parTransId="{DECF1E00-3EFF-405E-ACE3-27399461A20A}" sibTransId="{4F1AA69C-9E2E-4D8B-BE5A-6C7EB7E13A92}"/>
    <dgm:cxn modelId="{C3BC1942-2B45-4ED1-AA75-5994C23152C4}" type="presParOf" srcId="{A94466C2-CB24-46F9-8C20-D5FB789841DD}" destId="{0FC2C33B-C70E-4824-9171-2F95CAFB8F3D}" srcOrd="0" destOrd="0" presId="urn:microsoft.com/office/officeart/2018/2/layout/IconVerticalSolidList"/>
    <dgm:cxn modelId="{BAFF592B-AFCF-4A5B-8DA3-A4757EF0E76F}" type="presParOf" srcId="{0FC2C33B-C70E-4824-9171-2F95CAFB8F3D}" destId="{17CC6806-57BA-40AF-9AAA-A079EE2E818A}" srcOrd="0" destOrd="0" presId="urn:microsoft.com/office/officeart/2018/2/layout/IconVerticalSolidList"/>
    <dgm:cxn modelId="{8CF25A08-5CFB-437F-8A20-C795E0904A42}" type="presParOf" srcId="{0FC2C33B-C70E-4824-9171-2F95CAFB8F3D}" destId="{702B342D-40F4-4480-A5DB-A85D33385A62}" srcOrd="1" destOrd="0" presId="urn:microsoft.com/office/officeart/2018/2/layout/IconVerticalSolidList"/>
    <dgm:cxn modelId="{47D974BA-3334-4B67-B9A9-78B4976EF189}" type="presParOf" srcId="{0FC2C33B-C70E-4824-9171-2F95CAFB8F3D}" destId="{413ED0DE-A836-47C6-BACE-A300362FC3A4}" srcOrd="2" destOrd="0" presId="urn:microsoft.com/office/officeart/2018/2/layout/IconVerticalSolidList"/>
    <dgm:cxn modelId="{0819C1BC-BEA5-4725-ABCB-AA1494AF84D1}" type="presParOf" srcId="{0FC2C33B-C70E-4824-9171-2F95CAFB8F3D}" destId="{85B5D922-75DE-4CA3-A328-35BD3D7763D5}" srcOrd="3" destOrd="0" presId="urn:microsoft.com/office/officeart/2018/2/layout/IconVerticalSolidList"/>
    <dgm:cxn modelId="{76B4441C-FD36-4FC4-86FD-E7D49F6022F8}" type="presParOf" srcId="{A94466C2-CB24-46F9-8C20-D5FB789841DD}" destId="{921E4106-AED7-4754-863C-610BABECDC5E}" srcOrd="1" destOrd="0" presId="urn:microsoft.com/office/officeart/2018/2/layout/IconVerticalSolidList"/>
    <dgm:cxn modelId="{E81C206C-25CE-4457-97B0-EAFC4FC99F2E}" type="presParOf" srcId="{A94466C2-CB24-46F9-8C20-D5FB789841DD}" destId="{5EB0E9F0-42F5-4D60-824C-3F91FA077739}" srcOrd="2" destOrd="0" presId="urn:microsoft.com/office/officeart/2018/2/layout/IconVerticalSolidList"/>
    <dgm:cxn modelId="{984B7239-F844-4770-867E-CDFF71EA4C13}" type="presParOf" srcId="{5EB0E9F0-42F5-4D60-824C-3F91FA077739}" destId="{AAF69DC6-5114-4551-AC90-ED4583B4DA7A}" srcOrd="0" destOrd="0" presId="urn:microsoft.com/office/officeart/2018/2/layout/IconVerticalSolidList"/>
    <dgm:cxn modelId="{99397158-73FC-4309-AE1A-266EBA6A77F9}" type="presParOf" srcId="{5EB0E9F0-42F5-4D60-824C-3F91FA077739}" destId="{01669704-6FBE-4ECC-9896-53A1AF667A02}" srcOrd="1" destOrd="0" presId="urn:microsoft.com/office/officeart/2018/2/layout/IconVerticalSolidList"/>
    <dgm:cxn modelId="{6E7E03B4-7408-44E3-AB01-D5417C7F51C4}" type="presParOf" srcId="{5EB0E9F0-42F5-4D60-824C-3F91FA077739}" destId="{270B23B3-1E71-4F31-AE8B-250FE0A765A1}" srcOrd="2" destOrd="0" presId="urn:microsoft.com/office/officeart/2018/2/layout/IconVerticalSolidList"/>
    <dgm:cxn modelId="{C7FE4618-F69C-4C2C-AC50-C7073CEC4B9A}" type="presParOf" srcId="{5EB0E9F0-42F5-4D60-824C-3F91FA077739}" destId="{ACF9497B-F6F5-4380-A1FD-41B3A6F88221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9B39CD0-0E7D-4790-825C-295CDA5ABE0C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BFF4D968-42F2-4306-B543-68AA72E038E7}">
      <dgm:prSet/>
      <dgm:spPr/>
      <dgm:t>
        <a:bodyPr/>
        <a:lstStyle/>
        <a:p>
          <a:r>
            <a:rPr lang="en-US" dirty="0" err="1"/>
            <a:t>Hudik</a:t>
          </a:r>
          <a:r>
            <a:rPr lang="en-US" dirty="0"/>
            <a:t> Cup 13-15 </a:t>
          </a:r>
          <a:r>
            <a:rPr lang="en-US" dirty="0" err="1"/>
            <a:t>Juni</a:t>
          </a:r>
          <a:endParaRPr lang="en-US" dirty="0"/>
        </a:p>
      </dgm:t>
    </dgm:pt>
    <dgm:pt modelId="{DECF1E00-3EFF-405E-ACE3-27399461A20A}" type="parTrans" cxnId="{9DC6D984-9C7E-4F64-9CDC-F1947042EB2F}">
      <dgm:prSet/>
      <dgm:spPr/>
      <dgm:t>
        <a:bodyPr/>
        <a:lstStyle/>
        <a:p>
          <a:endParaRPr lang="en-US"/>
        </a:p>
      </dgm:t>
    </dgm:pt>
    <dgm:pt modelId="{4F1AA69C-9E2E-4D8B-BE5A-6C7EB7E13A92}" type="sibTrans" cxnId="{9DC6D984-9C7E-4F64-9CDC-F1947042EB2F}">
      <dgm:prSet/>
      <dgm:spPr/>
      <dgm:t>
        <a:bodyPr/>
        <a:lstStyle/>
        <a:p>
          <a:endParaRPr lang="en-US"/>
        </a:p>
      </dgm:t>
    </dgm:pt>
    <dgm:pt modelId="{3D5BEF0F-469B-48D8-91AC-EFB6AFB4528D}">
      <dgm:prSet/>
      <dgm:spPr/>
      <dgm:t>
        <a:bodyPr/>
        <a:lstStyle/>
        <a:p>
          <a:r>
            <a:rPr lang="en-US" dirty="0" err="1"/>
            <a:t>Storsjöcupen</a:t>
          </a:r>
          <a:r>
            <a:rPr lang="en-US" dirty="0"/>
            <a:t> 2-5 Juli</a:t>
          </a:r>
        </a:p>
      </dgm:t>
    </dgm:pt>
    <dgm:pt modelId="{E34B6EEF-E412-4F83-A7C5-D7B71FC6D1D0}" type="parTrans" cxnId="{86AA740B-ADA3-4556-834F-45F687612FC6}">
      <dgm:prSet/>
      <dgm:spPr/>
      <dgm:t>
        <a:bodyPr/>
        <a:lstStyle/>
        <a:p>
          <a:endParaRPr lang="en-US"/>
        </a:p>
      </dgm:t>
    </dgm:pt>
    <dgm:pt modelId="{9F6D6ABE-994F-426F-9C69-2393A59A654F}" type="sibTrans" cxnId="{86AA740B-ADA3-4556-834F-45F687612FC6}">
      <dgm:prSet/>
      <dgm:spPr/>
      <dgm:t>
        <a:bodyPr/>
        <a:lstStyle/>
        <a:p>
          <a:endParaRPr lang="en-US"/>
        </a:p>
      </dgm:t>
    </dgm:pt>
    <dgm:pt modelId="{A94466C2-CB24-46F9-8C20-D5FB789841DD}" type="pres">
      <dgm:prSet presAssocID="{29B39CD0-0E7D-4790-825C-295CDA5ABE0C}" presName="root" presStyleCnt="0">
        <dgm:presLayoutVars>
          <dgm:dir/>
          <dgm:resizeHandles val="exact"/>
        </dgm:presLayoutVars>
      </dgm:prSet>
      <dgm:spPr/>
    </dgm:pt>
    <dgm:pt modelId="{0FC2C33B-C70E-4824-9171-2F95CAFB8F3D}" type="pres">
      <dgm:prSet presAssocID="{BFF4D968-42F2-4306-B543-68AA72E038E7}" presName="compNode" presStyleCnt="0"/>
      <dgm:spPr/>
    </dgm:pt>
    <dgm:pt modelId="{17CC6806-57BA-40AF-9AAA-A079EE2E818A}" type="pres">
      <dgm:prSet presAssocID="{BFF4D968-42F2-4306-B543-68AA72E038E7}" presName="bgRect" presStyleLbl="bgShp" presStyleIdx="0" presStyleCnt="2"/>
      <dgm:spPr/>
    </dgm:pt>
    <dgm:pt modelId="{702B342D-40F4-4480-A5DB-A85D33385A62}" type="pres">
      <dgm:prSet presAssocID="{BFF4D968-42F2-4306-B543-68AA72E038E7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ispokal"/>
        </a:ext>
      </dgm:extLst>
    </dgm:pt>
    <dgm:pt modelId="{413ED0DE-A836-47C6-BACE-A300362FC3A4}" type="pres">
      <dgm:prSet presAssocID="{BFF4D968-42F2-4306-B543-68AA72E038E7}" presName="spaceRect" presStyleCnt="0"/>
      <dgm:spPr/>
    </dgm:pt>
    <dgm:pt modelId="{85B5D922-75DE-4CA3-A328-35BD3D7763D5}" type="pres">
      <dgm:prSet presAssocID="{BFF4D968-42F2-4306-B543-68AA72E038E7}" presName="parTx" presStyleLbl="revTx" presStyleIdx="0" presStyleCnt="2">
        <dgm:presLayoutVars>
          <dgm:chMax val="0"/>
          <dgm:chPref val="0"/>
        </dgm:presLayoutVars>
      </dgm:prSet>
      <dgm:spPr/>
    </dgm:pt>
    <dgm:pt modelId="{921E4106-AED7-4754-863C-610BABECDC5E}" type="pres">
      <dgm:prSet presAssocID="{4F1AA69C-9E2E-4D8B-BE5A-6C7EB7E13A92}" presName="sibTrans" presStyleCnt="0"/>
      <dgm:spPr/>
    </dgm:pt>
    <dgm:pt modelId="{5EB0E9F0-42F5-4D60-824C-3F91FA077739}" type="pres">
      <dgm:prSet presAssocID="{3D5BEF0F-469B-48D8-91AC-EFB6AFB4528D}" presName="compNode" presStyleCnt="0"/>
      <dgm:spPr/>
    </dgm:pt>
    <dgm:pt modelId="{AAF69DC6-5114-4551-AC90-ED4583B4DA7A}" type="pres">
      <dgm:prSet presAssocID="{3D5BEF0F-469B-48D8-91AC-EFB6AFB4528D}" presName="bgRect" presStyleLbl="bgShp" presStyleIdx="1" presStyleCnt="2"/>
      <dgm:spPr/>
    </dgm:pt>
    <dgm:pt modelId="{01669704-6FBE-4ECC-9896-53A1AF667A02}" type="pres">
      <dgm:prSet presAssocID="{3D5BEF0F-469B-48D8-91AC-EFB6AFB4528D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nöflinga"/>
        </a:ext>
      </dgm:extLst>
    </dgm:pt>
    <dgm:pt modelId="{270B23B3-1E71-4F31-AE8B-250FE0A765A1}" type="pres">
      <dgm:prSet presAssocID="{3D5BEF0F-469B-48D8-91AC-EFB6AFB4528D}" presName="spaceRect" presStyleCnt="0"/>
      <dgm:spPr/>
    </dgm:pt>
    <dgm:pt modelId="{ACF9497B-F6F5-4380-A1FD-41B3A6F88221}" type="pres">
      <dgm:prSet presAssocID="{3D5BEF0F-469B-48D8-91AC-EFB6AFB4528D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86AA740B-ADA3-4556-834F-45F687612FC6}" srcId="{29B39CD0-0E7D-4790-825C-295CDA5ABE0C}" destId="{3D5BEF0F-469B-48D8-91AC-EFB6AFB4528D}" srcOrd="1" destOrd="0" parTransId="{E34B6EEF-E412-4F83-A7C5-D7B71FC6D1D0}" sibTransId="{9F6D6ABE-994F-426F-9C69-2393A59A654F}"/>
    <dgm:cxn modelId="{688E2E75-CC88-4A3A-B386-2B55499EF968}" type="presOf" srcId="{3D5BEF0F-469B-48D8-91AC-EFB6AFB4528D}" destId="{ACF9497B-F6F5-4380-A1FD-41B3A6F88221}" srcOrd="0" destOrd="0" presId="urn:microsoft.com/office/officeart/2018/2/layout/IconVerticalSolidList"/>
    <dgm:cxn modelId="{BB099B7B-1D19-4F0F-B6F8-F3078FC2BD9A}" type="presOf" srcId="{29B39CD0-0E7D-4790-825C-295CDA5ABE0C}" destId="{A94466C2-CB24-46F9-8C20-D5FB789841DD}" srcOrd="0" destOrd="0" presId="urn:microsoft.com/office/officeart/2018/2/layout/IconVerticalSolidList"/>
    <dgm:cxn modelId="{FF41EE82-CD90-4228-83B2-F1AD4B7539C2}" type="presOf" srcId="{BFF4D968-42F2-4306-B543-68AA72E038E7}" destId="{85B5D922-75DE-4CA3-A328-35BD3D7763D5}" srcOrd="0" destOrd="0" presId="urn:microsoft.com/office/officeart/2018/2/layout/IconVerticalSolidList"/>
    <dgm:cxn modelId="{9DC6D984-9C7E-4F64-9CDC-F1947042EB2F}" srcId="{29B39CD0-0E7D-4790-825C-295CDA5ABE0C}" destId="{BFF4D968-42F2-4306-B543-68AA72E038E7}" srcOrd="0" destOrd="0" parTransId="{DECF1E00-3EFF-405E-ACE3-27399461A20A}" sibTransId="{4F1AA69C-9E2E-4D8B-BE5A-6C7EB7E13A92}"/>
    <dgm:cxn modelId="{C3BC1942-2B45-4ED1-AA75-5994C23152C4}" type="presParOf" srcId="{A94466C2-CB24-46F9-8C20-D5FB789841DD}" destId="{0FC2C33B-C70E-4824-9171-2F95CAFB8F3D}" srcOrd="0" destOrd="0" presId="urn:microsoft.com/office/officeart/2018/2/layout/IconVerticalSolidList"/>
    <dgm:cxn modelId="{BAFF592B-AFCF-4A5B-8DA3-A4757EF0E76F}" type="presParOf" srcId="{0FC2C33B-C70E-4824-9171-2F95CAFB8F3D}" destId="{17CC6806-57BA-40AF-9AAA-A079EE2E818A}" srcOrd="0" destOrd="0" presId="urn:microsoft.com/office/officeart/2018/2/layout/IconVerticalSolidList"/>
    <dgm:cxn modelId="{8CF25A08-5CFB-437F-8A20-C795E0904A42}" type="presParOf" srcId="{0FC2C33B-C70E-4824-9171-2F95CAFB8F3D}" destId="{702B342D-40F4-4480-A5DB-A85D33385A62}" srcOrd="1" destOrd="0" presId="urn:microsoft.com/office/officeart/2018/2/layout/IconVerticalSolidList"/>
    <dgm:cxn modelId="{47D974BA-3334-4B67-B9A9-78B4976EF189}" type="presParOf" srcId="{0FC2C33B-C70E-4824-9171-2F95CAFB8F3D}" destId="{413ED0DE-A836-47C6-BACE-A300362FC3A4}" srcOrd="2" destOrd="0" presId="urn:microsoft.com/office/officeart/2018/2/layout/IconVerticalSolidList"/>
    <dgm:cxn modelId="{0819C1BC-BEA5-4725-ABCB-AA1494AF84D1}" type="presParOf" srcId="{0FC2C33B-C70E-4824-9171-2F95CAFB8F3D}" destId="{85B5D922-75DE-4CA3-A328-35BD3D7763D5}" srcOrd="3" destOrd="0" presId="urn:microsoft.com/office/officeart/2018/2/layout/IconVerticalSolidList"/>
    <dgm:cxn modelId="{76B4441C-FD36-4FC4-86FD-E7D49F6022F8}" type="presParOf" srcId="{A94466C2-CB24-46F9-8C20-D5FB789841DD}" destId="{921E4106-AED7-4754-863C-610BABECDC5E}" srcOrd="1" destOrd="0" presId="urn:microsoft.com/office/officeart/2018/2/layout/IconVerticalSolidList"/>
    <dgm:cxn modelId="{E81C206C-25CE-4457-97B0-EAFC4FC99F2E}" type="presParOf" srcId="{A94466C2-CB24-46F9-8C20-D5FB789841DD}" destId="{5EB0E9F0-42F5-4D60-824C-3F91FA077739}" srcOrd="2" destOrd="0" presId="urn:microsoft.com/office/officeart/2018/2/layout/IconVerticalSolidList"/>
    <dgm:cxn modelId="{984B7239-F844-4770-867E-CDFF71EA4C13}" type="presParOf" srcId="{5EB0E9F0-42F5-4D60-824C-3F91FA077739}" destId="{AAF69DC6-5114-4551-AC90-ED4583B4DA7A}" srcOrd="0" destOrd="0" presId="urn:microsoft.com/office/officeart/2018/2/layout/IconVerticalSolidList"/>
    <dgm:cxn modelId="{99397158-73FC-4309-AE1A-266EBA6A77F9}" type="presParOf" srcId="{5EB0E9F0-42F5-4D60-824C-3F91FA077739}" destId="{01669704-6FBE-4ECC-9896-53A1AF667A02}" srcOrd="1" destOrd="0" presId="urn:microsoft.com/office/officeart/2018/2/layout/IconVerticalSolidList"/>
    <dgm:cxn modelId="{6E7E03B4-7408-44E3-AB01-D5417C7F51C4}" type="presParOf" srcId="{5EB0E9F0-42F5-4D60-824C-3F91FA077739}" destId="{270B23B3-1E71-4F31-AE8B-250FE0A765A1}" srcOrd="2" destOrd="0" presId="urn:microsoft.com/office/officeart/2018/2/layout/IconVerticalSolidList"/>
    <dgm:cxn modelId="{C7FE4618-F69C-4C2C-AC50-C7073CEC4B9A}" type="presParOf" srcId="{5EB0E9F0-42F5-4D60-824C-3F91FA077739}" destId="{ACF9497B-F6F5-4380-A1FD-41B3A6F88221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CC6806-57BA-40AF-9AAA-A079EE2E818A}">
      <dsp:nvSpPr>
        <dsp:cNvPr id="0" name=""/>
        <dsp:cNvSpPr/>
      </dsp:nvSpPr>
      <dsp:spPr>
        <a:xfrm>
          <a:off x="0" y="925715"/>
          <a:ext cx="6117335" cy="1709013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2B342D-40F4-4480-A5DB-A85D33385A62}">
      <dsp:nvSpPr>
        <dsp:cNvPr id="0" name=""/>
        <dsp:cNvSpPr/>
      </dsp:nvSpPr>
      <dsp:spPr>
        <a:xfrm>
          <a:off x="516976" y="1310243"/>
          <a:ext cx="939957" cy="93995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B5D922-75DE-4CA3-A328-35BD3D7763D5}">
      <dsp:nvSpPr>
        <dsp:cNvPr id="0" name=""/>
        <dsp:cNvSpPr/>
      </dsp:nvSpPr>
      <dsp:spPr>
        <a:xfrm>
          <a:off x="1973910" y="925715"/>
          <a:ext cx="4143425" cy="17090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871" tIns="180871" rIns="180871" bIns="18087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2st </a:t>
          </a:r>
          <a:r>
            <a:rPr lang="en-US" sz="2500" kern="1200" dirty="0" err="1"/>
            <a:t>fasta</a:t>
          </a:r>
          <a:r>
            <a:rPr lang="en-US" sz="2500" kern="1200" dirty="0"/>
            <a:t> 9-mannalag </a:t>
          </a:r>
          <a:r>
            <a:rPr lang="en-US" sz="2500" kern="1200" dirty="0" err="1"/>
            <a:t>i</a:t>
          </a:r>
          <a:r>
            <a:rPr lang="en-US" sz="2500" kern="1200" dirty="0"/>
            <a:t> </a:t>
          </a:r>
          <a:r>
            <a:rPr lang="en-US" sz="2500" kern="1200" dirty="0" err="1"/>
            <a:t>seriespelet</a:t>
          </a:r>
          <a:endParaRPr lang="en-US" sz="2500" kern="1200" dirty="0"/>
        </a:p>
      </dsp:txBody>
      <dsp:txXfrm>
        <a:off x="1973910" y="925715"/>
        <a:ext cx="4143425" cy="1709013"/>
      </dsp:txXfrm>
    </dsp:sp>
    <dsp:sp modelId="{AAF69DC6-5114-4551-AC90-ED4583B4DA7A}">
      <dsp:nvSpPr>
        <dsp:cNvPr id="0" name=""/>
        <dsp:cNvSpPr/>
      </dsp:nvSpPr>
      <dsp:spPr>
        <a:xfrm>
          <a:off x="0" y="3107066"/>
          <a:ext cx="6117335" cy="1709013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669704-6FBE-4ECC-9896-53A1AF667A02}">
      <dsp:nvSpPr>
        <dsp:cNvPr id="0" name=""/>
        <dsp:cNvSpPr/>
      </dsp:nvSpPr>
      <dsp:spPr>
        <a:xfrm>
          <a:off x="516976" y="3446510"/>
          <a:ext cx="939957" cy="93995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F9497B-F6F5-4380-A1FD-41B3A6F88221}">
      <dsp:nvSpPr>
        <dsp:cNvPr id="0" name=""/>
        <dsp:cNvSpPr/>
      </dsp:nvSpPr>
      <dsp:spPr>
        <a:xfrm>
          <a:off x="1973910" y="3061982"/>
          <a:ext cx="4143425" cy="17090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871" tIns="180871" rIns="180871" bIns="18087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2st 5-mannalag Futsal</a:t>
          </a:r>
          <a:r>
            <a:rPr lang="en-US" sz="2500" kern="1200" baseline="0" dirty="0"/>
            <a:t> </a:t>
          </a:r>
          <a:endParaRPr lang="en-US" sz="2500" kern="1200" dirty="0"/>
        </a:p>
      </dsp:txBody>
      <dsp:txXfrm>
        <a:off x="1973910" y="3061982"/>
        <a:ext cx="4143425" cy="17090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CC6806-57BA-40AF-9AAA-A079EE2E818A}">
      <dsp:nvSpPr>
        <dsp:cNvPr id="0" name=""/>
        <dsp:cNvSpPr/>
      </dsp:nvSpPr>
      <dsp:spPr>
        <a:xfrm>
          <a:off x="0" y="925715"/>
          <a:ext cx="6117335" cy="1709013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2B342D-40F4-4480-A5DB-A85D33385A62}">
      <dsp:nvSpPr>
        <dsp:cNvPr id="0" name=""/>
        <dsp:cNvSpPr/>
      </dsp:nvSpPr>
      <dsp:spPr>
        <a:xfrm>
          <a:off x="516976" y="1310243"/>
          <a:ext cx="939957" cy="93995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B5D922-75DE-4CA3-A328-35BD3D7763D5}">
      <dsp:nvSpPr>
        <dsp:cNvPr id="0" name=""/>
        <dsp:cNvSpPr/>
      </dsp:nvSpPr>
      <dsp:spPr>
        <a:xfrm>
          <a:off x="1973910" y="925715"/>
          <a:ext cx="4143425" cy="17090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871" tIns="180871" rIns="180871" bIns="18087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/>
            <a:t>Hudik</a:t>
          </a:r>
          <a:r>
            <a:rPr lang="en-US" sz="2500" kern="1200" dirty="0"/>
            <a:t> Cup 13-15 </a:t>
          </a:r>
          <a:r>
            <a:rPr lang="en-US" sz="2500" kern="1200" dirty="0" err="1"/>
            <a:t>Juni</a:t>
          </a:r>
          <a:endParaRPr lang="en-US" sz="2500" kern="1200" dirty="0"/>
        </a:p>
      </dsp:txBody>
      <dsp:txXfrm>
        <a:off x="1973910" y="925715"/>
        <a:ext cx="4143425" cy="1709013"/>
      </dsp:txXfrm>
    </dsp:sp>
    <dsp:sp modelId="{AAF69DC6-5114-4551-AC90-ED4583B4DA7A}">
      <dsp:nvSpPr>
        <dsp:cNvPr id="0" name=""/>
        <dsp:cNvSpPr/>
      </dsp:nvSpPr>
      <dsp:spPr>
        <a:xfrm>
          <a:off x="0" y="3061982"/>
          <a:ext cx="6117335" cy="1709013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669704-6FBE-4ECC-9896-53A1AF667A02}">
      <dsp:nvSpPr>
        <dsp:cNvPr id="0" name=""/>
        <dsp:cNvSpPr/>
      </dsp:nvSpPr>
      <dsp:spPr>
        <a:xfrm>
          <a:off x="516976" y="3446510"/>
          <a:ext cx="939957" cy="93995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F9497B-F6F5-4380-A1FD-41B3A6F88221}">
      <dsp:nvSpPr>
        <dsp:cNvPr id="0" name=""/>
        <dsp:cNvSpPr/>
      </dsp:nvSpPr>
      <dsp:spPr>
        <a:xfrm>
          <a:off x="1973910" y="3061982"/>
          <a:ext cx="4143425" cy="17090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871" tIns="180871" rIns="180871" bIns="18087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/>
            <a:t>Storsjöcupen</a:t>
          </a:r>
          <a:r>
            <a:rPr lang="en-US" sz="2500" kern="1200" dirty="0"/>
            <a:t> 2-5 Juli</a:t>
          </a:r>
        </a:p>
      </dsp:txBody>
      <dsp:txXfrm>
        <a:off x="1973910" y="3061982"/>
        <a:ext cx="4143425" cy="17090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20/2026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20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09A7-054C-47EE-B7EB-85C3DB4A7C14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977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4FE75-6A07-47FF-A71B-1E0A4766F720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6965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0642-D3A1-4493-9C02-ADB5DE2E33FC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427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AD4D43-3315-8098-AB60-0D1E2B669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356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AD4D43-3315-8098-AB60-0D1E2B669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50000" y="1712894"/>
            <a:ext cx="5508000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6000" y="1712894"/>
            <a:ext cx="5508000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DD490B8-B418-78D3-2E0B-461A61F706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53565B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333EA7F-716E-CA3B-831D-4E6ADC7C21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64637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Click icon to add picture</a:t>
            </a:r>
            <a:endParaRPr lang="sv-SE" noProof="0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99" y="6373749"/>
            <a:ext cx="4464000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0000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sv-SE" noProof="0"/>
              <a:t>Click to edit Master title style</a:t>
            </a:r>
            <a:endParaRPr lang="sv-SE" noProof="0" dirty="0"/>
          </a:p>
        </p:txBody>
      </p:sp>
      <p:pic>
        <p:nvPicPr>
          <p:cNvPr id="592163072" name="image" descr="{&quot;templafy&quot;:{&quot;id&quot;:&quot;d1c625b4-2c89-4e76-acc2-83dd18764ef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200" y="464399"/>
            <a:ext cx="2012400" cy="880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701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sv-SE" noProof="0"/>
              <a:t>Click to edit Master title style</a:t>
            </a:r>
            <a:endParaRPr lang="sv-S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noProof="0"/>
              <a:t>Click to edit Master text styles</a:t>
            </a:r>
            <a:endParaRPr lang="sv-SE"/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1BDC0FDC-0D9A-61CF-95C8-4BC8540608B8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5" name="Copyright" descr="{&quot;templafy&quot;:{&quot;id&quot;:&quot;9d32fa7e-1168-4e42-928f-1fe8dc913157&quot;}}">
            <a:extLst>
              <a:ext uri="{FF2B5EF4-FFF2-40B4-BE49-F238E27FC236}">
                <a16:creationId xmlns:a16="http://schemas.microsoft.com/office/drawing/2014/main" id="{62398D06-C488-9DDB-E248-1C4BC1724227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© 2025 Deloitte AB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CA4DFC-A5BD-1CA7-953A-4298BCF3311A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2845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Accessible Green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sv-SE" noProof="0"/>
              <a:t>Click to edit Master title style</a:t>
            </a:r>
            <a:endParaRPr lang="sv-S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noProof="0"/>
              <a:t>Click to edit Master text styles</a:t>
            </a:r>
            <a:endParaRPr lang="sv-SE"/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1BDC0FDC-0D9A-61CF-95C8-4BC8540608B8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CA4DFC-A5BD-1CA7-953A-4298BCF3311A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7" name="Copyright" descr="{&quot;templafy&quot;:{&quot;id&quot;:&quot;8f436200-9bd8-4b55-a968-1425df611dec&quot;}}">
            <a:extLst>
              <a:ext uri="{FF2B5EF4-FFF2-40B4-BE49-F238E27FC236}">
                <a16:creationId xmlns:a16="http://schemas.microsoft.com/office/drawing/2014/main" id="{C9DA7256-D510-92DC-2C86-BADDCDF98344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521971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Accessible Teal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sv-SE" noProof="0"/>
              <a:t>Click to edit Master title style</a:t>
            </a:r>
            <a:endParaRPr lang="sv-S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noProof="0"/>
              <a:t>Click to edit Master text styles</a:t>
            </a:r>
            <a:endParaRPr lang="sv-SE"/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0B944744-9AF8-6F57-762F-A053E0C75A9F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98DC-2E31-6A58-EC79-6DD0ED09A0D8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7" name="Copyright" descr="{&quot;templafy&quot;:{&quot;id&quot;:&quot;b0e5412d-c632-4ea2-ae21-5839add9ec17&quot;}}">
            <a:extLst>
              <a:ext uri="{FF2B5EF4-FFF2-40B4-BE49-F238E27FC236}">
                <a16:creationId xmlns:a16="http://schemas.microsoft.com/office/drawing/2014/main" id="{7F726BD5-32D1-0C8B-8B78-0C130D87BDB9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21793348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Accessible Blue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sv-SE" noProof="0"/>
              <a:t>Click to edit Master title style</a:t>
            </a:r>
            <a:endParaRPr lang="sv-SE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noProof="0"/>
              <a:t>Click to edit Master text styles</a:t>
            </a:r>
            <a:endParaRPr lang="sv-SE"/>
          </a:p>
        </p:txBody>
      </p:sp>
      <p:sp>
        <p:nvSpPr>
          <p:cNvPr id="2" name="CaseCode">
            <a:extLst>
              <a:ext uri="{FF2B5EF4-FFF2-40B4-BE49-F238E27FC236}">
                <a16:creationId xmlns:a16="http://schemas.microsoft.com/office/drawing/2014/main" id="{93E04509-01E9-4BE4-AE15-9290E9B2F0D8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56F94D-2DC7-60DE-BF1B-B69859E827D9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5" name="Copyright" descr="{&quot;templafy&quot;:{&quot;id&quot;:&quot;3225b5fd-6b46-4f1c-a430-b057817ceaca&quot;}}">
            <a:extLst>
              <a:ext uri="{FF2B5EF4-FFF2-40B4-BE49-F238E27FC236}">
                <a16:creationId xmlns:a16="http://schemas.microsoft.com/office/drawing/2014/main" id="{1B08B9FD-6C5B-A161-D2D5-7A82E9DB3DB5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2054820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sv-SE" noProof="0"/>
              <a:t>Click to edit Master title style</a:t>
            </a:r>
            <a:endParaRPr lang="sv-S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noProof="0"/>
              <a:t>Click to edit Master text styles</a:t>
            </a:r>
            <a:endParaRPr lang="sv-SE"/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1BDC0FDC-0D9A-61CF-95C8-4BC8540608B8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CA4DFC-A5BD-1CA7-953A-4298BCF3311A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7" name="Copyright" descr="{&quot;templafy&quot;:{&quot;id&quot;:&quot;29409f92-e03f-4e16-b455-cb619ea8cb11&quot;}}">
            <a:extLst>
              <a:ext uri="{FF2B5EF4-FFF2-40B4-BE49-F238E27FC236}">
                <a16:creationId xmlns:a16="http://schemas.microsoft.com/office/drawing/2014/main" id="{8193DA32-ECFC-82C3-679D-D0FF934F1F2A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30340223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Click icon to add picture</a:t>
            </a:r>
            <a:endParaRPr lang="sv-S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000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sv-SE" dirty="0"/>
              <a:t>Click to edit Master text styles</a:t>
            </a:r>
            <a:endParaRPr lang="sv-SE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00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sv-SE" dirty="0"/>
              <a:t>Click to edit Master text styles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043412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F303C-F0B2-4824-99B2-978F18C7E5EA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2481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688863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05972C-4EB5-02E5-D3B3-796AF5ABC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6785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05972C-4EB5-02E5-D3B3-796AF5ABC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53565B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567164D-98D6-14DE-1654-80431002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2982098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F85DDA7-785E-780B-BC9A-4216E2C1F3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847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85DDA7-785E-780B-BC9A-4216E2C1F3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63DAA5C-077F-FE00-63CE-03BEF637C3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53565B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6929E50-6BC7-6A16-7F97-75FA3937A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7A91D16B-BB64-A40E-E0AF-EBC7EE7F2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1714499"/>
            <a:ext cx="11304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/>
            </a:lvl1pPr>
            <a:lvl2pPr>
              <a:spcBef>
                <a:spcPts val="200"/>
              </a:spcBef>
              <a:spcAft>
                <a:spcPts val="200"/>
              </a:spcAft>
              <a:defRPr/>
            </a:lvl2pPr>
            <a:lvl3pPr>
              <a:spcBef>
                <a:spcPts val="200"/>
              </a:spcBef>
              <a:spcAft>
                <a:spcPts val="200"/>
              </a:spcAft>
              <a:defRPr/>
            </a:lvl3pPr>
            <a:lvl4pPr>
              <a:spcBef>
                <a:spcPts val="200"/>
              </a:spcBef>
              <a:spcAft>
                <a:spcPts val="200"/>
              </a:spcAft>
              <a:defRPr/>
            </a:lvl4pPr>
            <a:lvl5pPr>
              <a:spcBef>
                <a:spcPts val="200"/>
              </a:spcBef>
              <a:spcAft>
                <a:spcPts val="200"/>
              </a:spcAft>
              <a:defRPr/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594559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63C211-FBF0-0771-BE99-47E7028BD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5997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3C211-FBF0-0771-BE99-47E7028BD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0000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8B191C74-910B-0CFC-9067-143443C4A2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53565B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F0BB36C-DE52-CFD5-6483-3AF9FFFA10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F857E55-4828-A256-F67F-37E4E75E229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27048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495ED2B-E3BF-3456-BD7E-366BCEB6195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04096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2772082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18030CB-8A1E-7879-CA68-10EA5C7AE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60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8030CB-8A1E-7879-CA68-10EA5C7AE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0000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sv-SE" noProof="0"/>
              <a:t>Click to edit Master text styles</a:t>
            </a:r>
            <a:endParaRPr lang="sv-SE"/>
          </a:p>
          <a:p>
            <a:pPr lvl="1"/>
            <a:r>
              <a:rPr lang="sv-SE" noProof="0"/>
              <a:t>Second level</a:t>
            </a:r>
            <a:endParaRPr lang="sv-SE"/>
          </a:p>
          <a:p>
            <a:pPr lvl="2"/>
            <a:r>
              <a:rPr lang="sv-SE" noProof="0"/>
              <a:t>Third level</a:t>
            </a:r>
            <a:endParaRPr lang="sv-SE"/>
          </a:p>
          <a:p>
            <a:pPr lvl="3"/>
            <a:r>
              <a:rPr lang="sv-SE" noProof="0"/>
              <a:t>Fourth level</a:t>
            </a:r>
            <a:endParaRPr lang="sv-SE"/>
          </a:p>
          <a:p>
            <a:pPr lvl="4"/>
            <a:r>
              <a:rPr lang="sv-SE" noProof="0"/>
              <a:t>Fifth level</a:t>
            </a:r>
            <a:endParaRPr lang="sv-SE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C1C52B-7D74-06BE-C3B3-ED2F2596A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22994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sv-SE" noProof="0"/>
              <a:t>Click to edit Master text styles</a:t>
            </a:r>
            <a:endParaRPr lang="sv-SE"/>
          </a:p>
          <a:p>
            <a:pPr lvl="1"/>
            <a:r>
              <a:rPr lang="sv-SE" noProof="0"/>
              <a:t>Second level</a:t>
            </a:r>
            <a:endParaRPr lang="sv-SE"/>
          </a:p>
          <a:p>
            <a:pPr lvl="2"/>
            <a:r>
              <a:rPr lang="sv-SE" noProof="0"/>
              <a:t>Third level</a:t>
            </a:r>
            <a:endParaRPr lang="sv-SE"/>
          </a:p>
          <a:p>
            <a:pPr lvl="3"/>
            <a:r>
              <a:rPr lang="sv-SE" noProof="0"/>
              <a:t>Fourth level</a:t>
            </a:r>
            <a:endParaRPr lang="sv-SE"/>
          </a:p>
          <a:p>
            <a:pPr lvl="4"/>
            <a:r>
              <a:rPr lang="sv-SE" noProof="0"/>
              <a:t>Fifth level</a:t>
            </a:r>
            <a:endParaRPr lang="sv-SE" noProof="0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683BB7-E6EB-C2E9-3FCA-D699A39C712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5988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sv-SE" noProof="0"/>
              <a:t>Click to edit Master text styles</a:t>
            </a:r>
            <a:endParaRPr lang="sv-SE"/>
          </a:p>
          <a:p>
            <a:pPr lvl="1"/>
            <a:r>
              <a:rPr lang="sv-SE" noProof="0"/>
              <a:t>Second level</a:t>
            </a:r>
            <a:endParaRPr lang="sv-SE"/>
          </a:p>
          <a:p>
            <a:pPr lvl="2"/>
            <a:r>
              <a:rPr lang="sv-SE" noProof="0"/>
              <a:t>Third level</a:t>
            </a:r>
            <a:endParaRPr lang="sv-SE"/>
          </a:p>
          <a:p>
            <a:pPr lvl="3"/>
            <a:r>
              <a:rPr lang="sv-SE" noProof="0"/>
              <a:t>Fourth level</a:t>
            </a:r>
            <a:endParaRPr lang="sv-SE"/>
          </a:p>
          <a:p>
            <a:pPr lvl="4"/>
            <a:r>
              <a:rPr lang="sv-SE" noProof="0"/>
              <a:t>Fifth level</a:t>
            </a:r>
            <a:endParaRPr lang="sv-SE" noProof="0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D39A810-CF4D-8CC1-23AA-003EFA30A76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068982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sv-SE" noProof="0"/>
              <a:t>Click to edit Master text styles</a:t>
            </a:r>
            <a:endParaRPr lang="sv-SE"/>
          </a:p>
          <a:p>
            <a:pPr lvl="1"/>
            <a:r>
              <a:rPr lang="sv-SE" noProof="0"/>
              <a:t>Second level</a:t>
            </a:r>
            <a:endParaRPr lang="sv-SE"/>
          </a:p>
          <a:p>
            <a:pPr lvl="2"/>
            <a:r>
              <a:rPr lang="sv-SE" noProof="0"/>
              <a:t>Third level</a:t>
            </a:r>
            <a:endParaRPr lang="sv-SE"/>
          </a:p>
          <a:p>
            <a:pPr lvl="3"/>
            <a:r>
              <a:rPr lang="sv-SE" noProof="0"/>
              <a:t>Fourth level</a:t>
            </a:r>
            <a:endParaRPr lang="sv-SE"/>
          </a:p>
          <a:p>
            <a:pPr lvl="4"/>
            <a:r>
              <a:rPr lang="sv-SE" noProof="0"/>
              <a:t>Fifth level</a:t>
            </a:r>
            <a:endParaRPr lang="sv-SE" noProof="0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FB60B513-6C68-425A-86AC-3FC42F4B2B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53565B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9257AFC-2713-6B3B-F635-37B6D88CC3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7967277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F484570F-AB85-4401-FAD0-3C8AAB53F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893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84570F-AB85-4401-FAD0-3C8AAB53F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0000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56583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0000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6583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FC28274-B484-ADCB-6FAD-CD816034B79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104052" y="1880213"/>
            <a:ext cx="38461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1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sv-SE" dirty="0"/>
              <a:t>Click to edit Master text styles</a:t>
            </a:r>
            <a:endParaRPr lang="sv-SE"/>
          </a:p>
          <a:p>
            <a:pPr lvl="1"/>
            <a:r>
              <a:rPr lang="sv-SE" dirty="0"/>
              <a:t>Second level</a:t>
            </a:r>
            <a:endParaRPr lang="sv-SE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07900" y="1880213"/>
            <a:ext cx="38461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1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104051" y="4256213"/>
            <a:ext cx="3824765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1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905645" y="4256213"/>
            <a:ext cx="3848355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1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 userDrawn="1"/>
        </p:nvSpPr>
        <p:spPr>
          <a:xfrm>
            <a:off x="6256583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 userDrawn="1"/>
        </p:nvSpPr>
        <p:spPr>
          <a:xfrm>
            <a:off x="450000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 userDrawn="1"/>
        </p:nvSpPr>
        <p:spPr>
          <a:xfrm>
            <a:off x="6256583" y="4044901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 userDrawn="1"/>
        </p:nvSpPr>
        <p:spPr>
          <a:xfrm>
            <a:off x="450000" y="4044901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67D2A86E-3485-4064-F11B-592641772D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53565B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96810A4-9AE7-5408-F486-24386EEDA4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4926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38C8E8-5CC7-2DA0-0253-B90F98C6F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71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38C8E8-5CC7-2DA0-0253-B90F98C6F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DD670E7F-2D5F-E74D-FF59-5BD6C5BC34F1}"/>
              </a:ext>
            </a:extLst>
          </p:cNvPr>
          <p:cNvSpPr/>
          <p:nvPr userDrawn="1"/>
        </p:nvSpPr>
        <p:spPr>
          <a:xfrm>
            <a:off x="6256583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CD4E13F-35DC-E442-82C0-9B5EE61D2906}"/>
              </a:ext>
            </a:extLst>
          </p:cNvPr>
          <p:cNvSpPr/>
          <p:nvPr userDrawn="1"/>
        </p:nvSpPr>
        <p:spPr>
          <a:xfrm>
            <a:off x="450000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32DA993B-B409-E5C0-E8A1-3920C08FA40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80531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9EA35630-FAAB-0992-9BD2-E2CF77317F5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68918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F362A436-16E9-8D92-CE75-CF090274A9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53565B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CE7ED7B-D3F7-0C2D-3D7F-23B03A315C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4A6BC76D-8B27-508E-2FA1-4B668FF32EE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9999" y="3498336"/>
            <a:ext cx="5506532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sv-SE" dirty="0"/>
              <a:t>Click to edit Master text styles</a:t>
            </a:r>
            <a:endParaRPr lang="sv-SE"/>
          </a:p>
          <a:p>
            <a:pPr lvl="1"/>
            <a:r>
              <a:rPr lang="sv-SE" dirty="0"/>
              <a:t>Second level</a:t>
            </a:r>
            <a:endParaRPr lang="sv-SE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C91076D-2B86-9AF3-18AC-3BF3B094050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47468" y="3498336"/>
            <a:ext cx="5506532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sv-SE" dirty="0"/>
              <a:t>Click to edit Master text styles</a:t>
            </a:r>
            <a:endParaRPr lang="sv-SE"/>
          </a:p>
          <a:p>
            <a:pPr lvl="1"/>
            <a:r>
              <a:rPr lang="sv-SE" dirty="0"/>
              <a:t>Second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500249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Click icon to add picture</a:t>
            </a:r>
            <a:endParaRPr lang="sv-S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000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sv-SE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00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sv-SE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5325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341A6448-2CDA-7D6D-F1A0-347696B21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16298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98D36622-3315-0885-4F7E-8CCDE0C2BA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E8942A-B484-29A8-C101-63496BEA5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45074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CB7C4-2AAA-4359-8376-E599B7B14940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41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1 column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C36FB10-1EF5-A9A4-577D-A18DA4D120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32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36FB10-1EF5-A9A4-577D-A18DA4D12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Code">
            <a:extLst>
              <a:ext uri="{FF2B5EF4-FFF2-40B4-BE49-F238E27FC236}">
                <a16:creationId xmlns:a16="http://schemas.microsoft.com/office/drawing/2014/main" id="{439CAA0B-BD7D-E961-FD1C-9131F85A54CA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38B5BD-933E-BC54-3884-620C20F639B9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FB46B341-3430-2348-6D11-485200BFA9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1714500"/>
            <a:ext cx="11304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99282DB-7705-38D1-75C5-92BD76D918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2F2C4463-3F55-0B57-ECFE-555C0A178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BBBCBC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2" name="Copyright" descr="{&quot;templafy&quot;:{&quot;id&quot;:&quot;06d261a4-d065-4da9-acdb-ec61578e7868&quot;}}">
            <a:extLst>
              <a:ext uri="{FF2B5EF4-FFF2-40B4-BE49-F238E27FC236}">
                <a16:creationId xmlns:a16="http://schemas.microsoft.com/office/drawing/2014/main" id="{6ABC41BE-28A6-9BCC-C7A6-7CDAA1375BC5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388465573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3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82120E2-D6C2-D764-40A5-E97D48121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29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120E2-D6C2-D764-40A5-E97D481216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0000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C9C6FA1-DDE1-8073-D67E-BBF06C3542A3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FB6382-2CB7-7FC9-D920-10C689F2F5E2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413E34D-A983-4D25-B3D7-D7643F6035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F14D54C-54B5-CC50-7E64-122407456A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b="0" dirty="0">
                <a:solidFill>
                  <a:srgbClr val="BBBCBC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0E9C8C-3361-2EBB-1420-4D27917305A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27048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D594323-BB1E-32C6-75D1-37D14037392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04096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2" name="Copyright" descr="{&quot;templafy&quot;:{&quot;id&quot;:&quot;403f63be-a34a-4a4f-9088-6044f33174d6&quot;}}">
            <a:extLst>
              <a:ext uri="{FF2B5EF4-FFF2-40B4-BE49-F238E27FC236}">
                <a16:creationId xmlns:a16="http://schemas.microsoft.com/office/drawing/2014/main" id="{45C8B7CD-557D-AB03-3A93-FC41C9810FE1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21842998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4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F0D7E5-2029-3151-0D44-92D925760B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120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F0D7E5-2029-3151-0D44-92D925760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0000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2" name="CaseCode">
            <a:extLst>
              <a:ext uri="{FF2B5EF4-FFF2-40B4-BE49-F238E27FC236}">
                <a16:creationId xmlns:a16="http://schemas.microsoft.com/office/drawing/2014/main" id="{2AC6B5AE-2398-5F77-C242-BA82202FDB97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DEBAD5-40EB-51CE-ACE7-BD2DFF52BB5F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86DEB7A-2D80-0936-9E40-8E28EEB0EB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7F64B02-86CD-B81B-86B2-05391A92AC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BBBCBC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39EE392B-1FEE-21B0-181D-C9962A3FE8E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22994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C71861D-BC3F-2DAD-BA49-86947F937CC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95988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D62757C-35E9-6C73-1638-E2D99D8D412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68982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4" name="Copyright" descr="{&quot;templafy&quot;:{&quot;id&quot;:&quot;0eec9b49-fdcd-42b7-a6d0-aaf7c1d3b949&quot;}}">
            <a:extLst>
              <a:ext uri="{FF2B5EF4-FFF2-40B4-BE49-F238E27FC236}">
                <a16:creationId xmlns:a16="http://schemas.microsoft.com/office/drawing/2014/main" id="{ECE87BF9-0ECB-E651-2ED5-BB50442CDB41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389636612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profil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E4C1F1A-C2FD-0E2E-2497-1640B8CFB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992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C1F1A-C2FD-0E2E-2497-1640B8CFB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0000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46000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0000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46000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02000" y="1880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sv-SE" dirty="0"/>
              <a:t>Click to edit Master text styles</a:t>
            </a:r>
            <a:endParaRPr lang="sv-SE"/>
          </a:p>
          <a:p>
            <a:pPr lvl="1"/>
            <a:r>
              <a:rPr lang="sv-SE" dirty="0"/>
              <a:t>Second level</a:t>
            </a:r>
            <a:endParaRPr lang="sv-SE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106000" y="4256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902000" y="4256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 userDrawn="1"/>
        </p:nvSpPr>
        <p:spPr>
          <a:xfrm>
            <a:off x="6246000" y="1677307"/>
            <a:ext cx="55080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 userDrawn="1"/>
        </p:nvSpPr>
        <p:spPr>
          <a:xfrm>
            <a:off x="450000" y="1677307"/>
            <a:ext cx="55080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 userDrawn="1"/>
        </p:nvSpPr>
        <p:spPr>
          <a:xfrm>
            <a:off x="6246000" y="4044901"/>
            <a:ext cx="55080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 userDrawn="1"/>
        </p:nvSpPr>
        <p:spPr>
          <a:xfrm>
            <a:off x="450000" y="4044901"/>
            <a:ext cx="55080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4" name="CaseCode">
            <a:extLst>
              <a:ext uri="{FF2B5EF4-FFF2-40B4-BE49-F238E27FC236}">
                <a16:creationId xmlns:a16="http://schemas.microsoft.com/office/drawing/2014/main" id="{FDC8E98C-87C9-16F4-A3B7-C5661C38BF7F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4639CE-52C7-C346-7162-BAD5CAAE51C5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98DB5DD3-41BE-3F94-9CAF-1C6AF307A27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106000" y="1880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sv-SE" dirty="0"/>
              <a:t>Click to edit Master text styles</a:t>
            </a:r>
            <a:endParaRPr lang="sv-SE"/>
          </a:p>
          <a:p>
            <a:pPr lvl="1"/>
            <a:r>
              <a:rPr lang="sv-SE" dirty="0"/>
              <a:t>Second level</a:t>
            </a:r>
            <a:endParaRPr lang="sv-SE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7685A54B-009E-7531-D093-9C1E6AA6E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1F09F11E-B446-F54E-C136-D44C717D20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BBBCBC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6" name="Copyright" descr="{&quot;templafy&quot;:{&quot;id&quot;:&quot;5051d2d9-93ee-46ed-a98b-40ee35bf7c75&quot;}}">
            <a:extLst>
              <a:ext uri="{FF2B5EF4-FFF2-40B4-BE49-F238E27FC236}">
                <a16:creationId xmlns:a16="http://schemas.microsoft.com/office/drawing/2014/main" id="{E599BEF7-FA4C-7085-1465-2963E0C97BE6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75327853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lifications 2 x 1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7C7A401-E3C4-4448-BB60-24DC9B089C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0233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C7A401-E3C4-4448-BB60-24DC9B089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FBE7610-ECB4-CA89-5B4C-9B0C6E8A570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82000" y="1883664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6E7011BF-A32B-4689-4585-D2226C8A39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78000" y="1883664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sv-SE"/>
              <a:t>Click icon to add picture</a:t>
            </a:r>
            <a:endParaRPr lang="sv-SE" dirty="0"/>
          </a:p>
        </p:txBody>
      </p:sp>
      <p:sp>
        <p:nvSpPr>
          <p:cNvPr id="2" name="CaseCode">
            <a:extLst>
              <a:ext uri="{FF2B5EF4-FFF2-40B4-BE49-F238E27FC236}">
                <a16:creationId xmlns:a16="http://schemas.microsoft.com/office/drawing/2014/main" id="{FB1AB0CC-E815-A64E-13C9-1E9087A3F714}"/>
              </a:ext>
            </a:extLst>
          </p:cNvPr>
          <p:cNvSpPr txBox="1"/>
          <p:nvPr userDrawn="1"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endParaRPr lang="sv-S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D2FF46-F2E3-4C53-5DB7-61C38243D4F9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sv-SE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sv-SE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BEB426A-016F-1B65-1168-FF2235F36C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0000" y="3491918"/>
            <a:ext cx="5508000" cy="288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843CBCEE-6AB3-6F31-A1DF-F3F88E1757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sv-SE" dirty="0"/>
              <a:t>Click to add title</a:t>
            </a:r>
            <a:endParaRPr lang="sv-SE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D7B41BD-8ED5-299A-47F6-EACF78AFCB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BBBCBC"/>
                </a:solidFill>
              </a:defRPr>
            </a:lvl1pPr>
          </a:lstStyle>
          <a:p>
            <a:pPr lvl="0"/>
            <a:r>
              <a:rPr lang="sv-SE" dirty="0"/>
              <a:t>Click to add subtitle</a:t>
            </a:r>
            <a:endParaRPr lang="sv-S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E79773-3B23-90E9-4D48-A5FDB54800E7}"/>
              </a:ext>
            </a:extLst>
          </p:cNvPr>
          <p:cNvSpPr/>
          <p:nvPr userDrawn="1"/>
        </p:nvSpPr>
        <p:spPr>
          <a:xfrm>
            <a:off x="6246000" y="1677307"/>
            <a:ext cx="55080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2B04A7-88BB-C053-00D5-6E084E746EAB}"/>
              </a:ext>
            </a:extLst>
          </p:cNvPr>
          <p:cNvSpPr/>
          <p:nvPr userDrawn="1"/>
        </p:nvSpPr>
        <p:spPr>
          <a:xfrm>
            <a:off x="450000" y="1677307"/>
            <a:ext cx="55080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sv-SE" sz="1100" noProof="0" dirty="0">
              <a:solidFill>
                <a:schemeClr val="bg1"/>
              </a:solidFill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46306D7-050B-5308-5E5B-4221EF4A7F66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246000" y="3491918"/>
            <a:ext cx="5508000" cy="288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sv-SE" noProof="0" dirty="0"/>
              <a:t>Click to edit Master text styles</a:t>
            </a:r>
            <a:endParaRPr lang="sv-SE"/>
          </a:p>
          <a:p>
            <a:pPr lvl="1"/>
            <a:r>
              <a:rPr lang="sv-SE" noProof="0" dirty="0"/>
              <a:t>Second level</a:t>
            </a:r>
            <a:endParaRPr lang="sv-SE"/>
          </a:p>
          <a:p>
            <a:pPr lvl="2"/>
            <a:r>
              <a:rPr lang="sv-SE" noProof="0" dirty="0"/>
              <a:t>Third level</a:t>
            </a:r>
            <a:endParaRPr lang="sv-SE"/>
          </a:p>
          <a:p>
            <a:pPr lvl="3"/>
            <a:r>
              <a:rPr lang="sv-SE" noProof="0" dirty="0"/>
              <a:t>Fourth level</a:t>
            </a:r>
            <a:endParaRPr lang="sv-SE"/>
          </a:p>
          <a:p>
            <a:pPr lvl="4"/>
            <a:r>
              <a:rPr lang="sv-SE" noProof="0" dirty="0"/>
              <a:t>Fifth level</a:t>
            </a:r>
            <a:endParaRPr lang="sv-SE"/>
          </a:p>
        </p:txBody>
      </p:sp>
      <p:sp>
        <p:nvSpPr>
          <p:cNvPr id="6" name="Copyright" descr="{&quot;templafy&quot;:{&quot;id&quot;:&quot;6f883f7f-58ed-41f2-8f37-97f5afe295d6&quot;}}">
            <a:extLst>
              <a:ext uri="{FF2B5EF4-FFF2-40B4-BE49-F238E27FC236}">
                <a16:creationId xmlns:a16="http://schemas.microsoft.com/office/drawing/2014/main" id="{992FC042-C0BB-6E87-173C-9C7D896B28CC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273451349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A5FD-AAAA-48D8-A53F-514A3A23696F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73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B44DF-35C4-4F24-9155-D0ABD229B669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64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99037A-30C2-41D8-831B-0C899FB901F3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44523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604E5-7D80-49F4-92C0-A2A7E8122461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8680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16E64-B1CB-411A-8725-CD7F4C8DEC19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03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8F140-A55A-4E5D-AFC0-85684051C8B8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184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9A1DD3AD-39B9-440D-9E94-C4744FC69486}" type="datetime1">
              <a:rPr lang="en-US" smtClean="0"/>
              <a:t>4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tx1">
                    <a:alpha val="20000"/>
                  </a:schemeClr>
                </a:solidFill>
                <a:latin typeface="+mj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pyright" descr="{&quot;templafy&quot;:{&quot;id&quot;:&quot;c9a75cfc-7a39-4fad-a03e-2c362df112ec&quot;}}">
            <a:extLst>
              <a:ext uri="{FF2B5EF4-FFF2-40B4-BE49-F238E27FC236}">
                <a16:creationId xmlns:a16="http://schemas.microsoft.com/office/drawing/2014/main" id="{A2A10F3B-8823-12E8-86E8-A72379C476F9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sv-SE" sz="80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© 2025 Deloitte AB</a:t>
            </a:r>
          </a:p>
        </p:txBody>
      </p:sp>
    </p:spTree>
    <p:extLst>
      <p:ext uri="{BB962C8B-B14F-4D97-AF65-F5344CB8AC3E}">
        <p14:creationId xmlns:p14="http://schemas.microsoft.com/office/powerpoint/2010/main" val="18530394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  <p:sldLayoutId id="2147484151" r:id="rId6"/>
    <p:sldLayoutId id="2147484152" r:id="rId7"/>
    <p:sldLayoutId id="2147484153" r:id="rId8"/>
    <p:sldLayoutId id="2147484154" r:id="rId9"/>
    <p:sldLayoutId id="2147484155" r:id="rId10"/>
    <p:sldLayoutId id="2147484156" r:id="rId11"/>
    <p:sldLayoutId id="2147484157" r:id="rId12"/>
    <p:sldLayoutId id="2147483948" r:id="rId13"/>
    <p:sldLayoutId id="2147484019" r:id="rId14"/>
    <p:sldLayoutId id="2147483994" r:id="rId15"/>
    <p:sldLayoutId id="2147483996" r:id="rId16"/>
    <p:sldLayoutId id="2147483995" r:id="rId17"/>
    <p:sldLayoutId id="2147484017" r:id="rId18"/>
    <p:sldLayoutId id="2147483975" r:id="rId19"/>
    <p:sldLayoutId id="2147484001" r:id="rId20"/>
    <p:sldLayoutId id="2147484007" r:id="rId21"/>
    <p:sldLayoutId id="2147483953" r:id="rId22"/>
    <p:sldLayoutId id="2147483959" r:id="rId23"/>
    <p:sldLayoutId id="2147483962" r:id="rId24"/>
    <p:sldLayoutId id="2147483967" r:id="rId25"/>
    <p:sldLayoutId id="2147483966" r:id="rId26"/>
    <p:sldLayoutId id="2147484008" r:id="rId27"/>
    <p:sldLayoutId id="2147484009" r:id="rId28"/>
    <p:sldLayoutId id="2147484010" r:id="rId29"/>
    <p:sldLayoutId id="2147484011" r:id="rId30"/>
    <p:sldLayoutId id="2147484013" r:id="rId31"/>
    <p:sldLayoutId id="2147484014" r:id="rId32"/>
    <p:sldLayoutId id="2147484015" r:id="rId33"/>
    <p:sldLayoutId id="2147484016" r:id="rId34"/>
  </p:sldLayoutIdLst>
  <p:transition>
    <p:fade/>
  </p:transition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08" userDrawn="1">
          <p15:clr>
            <a:srgbClr val="F26B43"/>
          </p15:clr>
        </p15:guide>
        <p15:guide id="2" orient="horz" pos="432" userDrawn="1">
          <p15:clr>
            <a:srgbClr val="F26B43"/>
          </p15:clr>
        </p15:guide>
        <p15:guide id="3" orient="horz" pos="4104" userDrawn="1">
          <p15:clr>
            <a:srgbClr val="F26B43"/>
          </p15:clr>
        </p15:guide>
        <p15:guide id="4" orient="horz" pos="1071" userDrawn="1">
          <p15:clr>
            <a:srgbClr val="F26B43"/>
          </p15:clr>
        </p15:guide>
        <p15:guide id="5" orient="horz" pos="216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31" userDrawn="1">
          <p15:clr>
            <a:srgbClr val="F26B43"/>
          </p15:clr>
        </p15:guide>
        <p15:guide id="8" pos="279" userDrawn="1">
          <p15:clr>
            <a:srgbClr val="F26B43"/>
          </p15:clr>
        </p15:guide>
        <p15:guide id="9" pos="3749" userDrawn="1">
          <p15:clr>
            <a:srgbClr val="F26B43"/>
          </p15:clr>
        </p15:guide>
        <p15:guide id="10" pos="74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7F0063-61B8-C94F-3A5A-E4B6F35BB3C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 dirty="0"/>
          </a:p>
          <a:p>
            <a:endParaRPr lang="sv-SE" b="1" dirty="0"/>
          </a:p>
          <a:p>
            <a:r>
              <a:rPr lang="sv-SE" dirty="0"/>
              <a:t>	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E7AFEA-6C32-6BEF-1450-5FE94B45B3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050" y="696697"/>
            <a:ext cx="11304000" cy="757255"/>
          </a:xfrm>
        </p:spPr>
        <p:txBody>
          <a:bodyPr/>
          <a:lstStyle/>
          <a:p>
            <a:pPr algn="ctr"/>
            <a:r>
              <a:rPr lang="sv-SE" sz="3600" b="1" dirty="0">
                <a:solidFill>
                  <a:schemeClr val="tx1"/>
                </a:solidFill>
              </a:rPr>
              <a:t>OPE Flickor -12 Kickoff 202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09B55E-FFB3-46BD-8EBA-F4916A4946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5438" y="1453951"/>
            <a:ext cx="8367712" cy="504442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0646456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E7AFEA-6C32-6BEF-1450-5FE94B45B39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marL="0" lvl="4" indent="0">
              <a:buNone/>
            </a:pPr>
            <a:r>
              <a:rPr lang="sv-SE" sz="2000" b="1" dirty="0">
                <a:solidFill>
                  <a:schemeClr val="tx1"/>
                </a:solidFill>
              </a:rPr>
              <a:t>Grupp 1</a:t>
            </a:r>
          </a:p>
          <a:p>
            <a:pPr marL="0" lvl="4" indent="0">
              <a:buNone/>
            </a:pPr>
            <a:endParaRPr lang="sv-SE" sz="16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Agnes A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Stella B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Asta B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Signe S</a:t>
            </a:r>
          </a:p>
          <a:p>
            <a:pPr marL="0" lvl="4" indent="0">
              <a:buNone/>
            </a:pPr>
            <a:r>
              <a:rPr lang="sv-SE" sz="1600" b="1" dirty="0" err="1">
                <a:solidFill>
                  <a:schemeClr val="tx1"/>
                </a:solidFill>
              </a:rPr>
              <a:t>Brendona</a:t>
            </a:r>
            <a:r>
              <a:rPr lang="sv-SE" sz="1600" b="1" dirty="0">
                <a:solidFill>
                  <a:schemeClr val="tx1"/>
                </a:solidFill>
              </a:rPr>
              <a:t> D</a:t>
            </a:r>
          </a:p>
          <a:p>
            <a:pPr marL="0" lvl="4" indent="0">
              <a:buNone/>
            </a:pPr>
            <a:endParaRPr lang="sv-SE" sz="16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r>
              <a:rPr lang="sv-SE" sz="2000" b="1" dirty="0">
                <a:solidFill>
                  <a:schemeClr val="tx1"/>
                </a:solidFill>
              </a:rPr>
              <a:t>Grupp 2</a:t>
            </a:r>
          </a:p>
          <a:p>
            <a:pPr marL="0" lvl="4" indent="0">
              <a:buNone/>
            </a:pPr>
            <a:endParaRPr lang="sv-SE" sz="16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Meja P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Leah K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Clara K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Tuva Å</a:t>
            </a:r>
          </a:p>
          <a:p>
            <a:r>
              <a:rPr lang="sv-SE" sz="1600" b="1" dirty="0" err="1">
                <a:solidFill>
                  <a:schemeClr val="tx1"/>
                </a:solidFill>
              </a:rPr>
              <a:t>Solomie</a:t>
            </a:r>
            <a:r>
              <a:rPr lang="sv-SE" sz="1600" b="1" dirty="0">
                <a:solidFill>
                  <a:schemeClr val="tx1"/>
                </a:solidFill>
              </a:rPr>
              <a:t> M</a:t>
            </a:r>
          </a:p>
          <a:p>
            <a:pPr marL="0" lvl="4" indent="0">
              <a:buNone/>
            </a:pPr>
            <a:endParaRPr lang="sv-SE" sz="16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endParaRPr lang="sv-SE" sz="1600" b="1" dirty="0">
              <a:solidFill>
                <a:schemeClr val="tx1"/>
              </a:solidFill>
            </a:endParaRP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AB32EB3-3B6F-7CEE-1AEE-5D891E76C58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sv-SE" sz="2000" b="1" dirty="0">
                <a:solidFill>
                  <a:schemeClr val="tx1"/>
                </a:solidFill>
              </a:rPr>
              <a:t>Grupp 3</a:t>
            </a:r>
          </a:p>
          <a:p>
            <a:endParaRPr lang="sv-SE" sz="1600" b="1" dirty="0">
              <a:solidFill>
                <a:schemeClr val="tx1"/>
              </a:solidFill>
            </a:endParaRPr>
          </a:p>
          <a:p>
            <a:r>
              <a:rPr lang="sv-SE" sz="1600" b="1" dirty="0">
                <a:solidFill>
                  <a:schemeClr val="tx1"/>
                </a:solidFill>
              </a:rPr>
              <a:t>Gabriella N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Lea N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Vera N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Lova O</a:t>
            </a:r>
          </a:p>
          <a:p>
            <a:r>
              <a:rPr lang="sv-SE" sz="1600" b="1" dirty="0" err="1">
                <a:solidFill>
                  <a:schemeClr val="tx1"/>
                </a:solidFill>
              </a:rPr>
              <a:t>Mbabzi</a:t>
            </a:r>
            <a:r>
              <a:rPr lang="sv-SE" sz="1600" b="1" dirty="0">
                <a:solidFill>
                  <a:schemeClr val="tx1"/>
                </a:solidFill>
              </a:rPr>
              <a:t> K</a:t>
            </a:r>
          </a:p>
          <a:p>
            <a:endParaRPr lang="sv-SE" sz="1600" b="1" dirty="0">
              <a:solidFill>
                <a:schemeClr val="tx1"/>
              </a:solidFill>
            </a:endParaRPr>
          </a:p>
          <a:p>
            <a:r>
              <a:rPr lang="sv-SE" sz="2000" b="1" dirty="0">
                <a:solidFill>
                  <a:schemeClr val="tx1"/>
                </a:solidFill>
              </a:rPr>
              <a:t>Grupp 4</a:t>
            </a:r>
          </a:p>
          <a:p>
            <a:endParaRPr lang="sv-SE" sz="1600" b="1" dirty="0">
              <a:solidFill>
                <a:schemeClr val="tx1"/>
              </a:solidFill>
            </a:endParaRPr>
          </a:p>
          <a:p>
            <a:r>
              <a:rPr lang="sv-SE" sz="1600" b="1" dirty="0">
                <a:solidFill>
                  <a:schemeClr val="tx1"/>
                </a:solidFill>
              </a:rPr>
              <a:t>Agnes M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Towa S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Signe W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Sofia K</a:t>
            </a:r>
          </a:p>
          <a:p>
            <a:r>
              <a:rPr lang="sv-SE" sz="1600" b="1" dirty="0" err="1">
                <a:solidFill>
                  <a:schemeClr val="tx1"/>
                </a:solidFill>
              </a:rPr>
              <a:t>Zvea</a:t>
            </a:r>
            <a:r>
              <a:rPr lang="sv-SE" sz="1600" b="1" dirty="0">
                <a:solidFill>
                  <a:schemeClr val="tx1"/>
                </a:solidFill>
              </a:rPr>
              <a:t> Ö</a:t>
            </a:r>
          </a:p>
          <a:p>
            <a:endParaRPr lang="sv-SE" sz="1600" b="1" dirty="0">
              <a:solidFill>
                <a:schemeClr val="tx1"/>
              </a:solidFill>
            </a:endParaRPr>
          </a:p>
          <a:p>
            <a:endParaRPr lang="sv-SE" sz="1400" b="1" dirty="0">
              <a:solidFill>
                <a:schemeClr val="tx1"/>
              </a:solidFill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82D968D-0CF0-9DE9-AB36-354E8CB8EFAB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sv-SE" sz="2000" b="1" dirty="0">
                <a:solidFill>
                  <a:schemeClr val="tx1"/>
                </a:solidFill>
              </a:rPr>
              <a:t>Grupp 5</a:t>
            </a:r>
          </a:p>
          <a:p>
            <a:endParaRPr lang="sv-SE" sz="16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Tove EN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Tyra E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Melissa F</a:t>
            </a:r>
          </a:p>
          <a:p>
            <a:pPr marL="0" lvl="4" indent="0">
              <a:buNone/>
            </a:pPr>
            <a:r>
              <a:rPr lang="sv-SE" sz="1600" b="1" dirty="0" err="1">
                <a:solidFill>
                  <a:schemeClr val="tx1"/>
                </a:solidFill>
              </a:rPr>
              <a:t>Deshira</a:t>
            </a:r>
            <a:endParaRPr lang="sv-SE" sz="16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Ellen H</a:t>
            </a:r>
          </a:p>
          <a:p>
            <a:pPr marL="0" lvl="4" indent="0">
              <a:buNone/>
            </a:pPr>
            <a:endParaRPr lang="sv-SE" sz="16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r>
              <a:rPr lang="sv-SE" sz="2000" b="1" dirty="0">
                <a:solidFill>
                  <a:schemeClr val="tx1"/>
                </a:solidFill>
              </a:rPr>
              <a:t>Grupp 6</a:t>
            </a:r>
            <a:endParaRPr lang="en-US" sz="2000" b="1" dirty="0">
              <a:solidFill>
                <a:schemeClr val="tx1"/>
              </a:solidFill>
            </a:endParaRPr>
          </a:p>
          <a:p>
            <a:endParaRPr lang="en-US" sz="20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Milla H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Stina I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Molly Ö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Sofia B</a:t>
            </a:r>
          </a:p>
          <a:p>
            <a:pPr marL="0" lvl="4" indent="0">
              <a:buNone/>
            </a:pPr>
            <a:endParaRPr lang="sv-SE" sz="12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endParaRPr lang="sv-SE" sz="1200" b="1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D500C43A-F57B-369B-94CE-F6DEA6E79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4400" b="1" dirty="0">
                <a:solidFill>
                  <a:schemeClr val="tx1"/>
                </a:solidFill>
              </a:rPr>
              <a:t>Grupper</a:t>
            </a:r>
            <a:br>
              <a:rPr lang="sv-SE" sz="5400" b="1" dirty="0">
                <a:solidFill>
                  <a:schemeClr val="tx1"/>
                </a:solidFill>
              </a:rPr>
            </a:br>
            <a:endParaRPr lang="en-US" dirty="0"/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0BE59063-2B0A-1F71-1A6D-4C6AE3CA24F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65026202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white paper with writing on it&#10;&#10;AI-generated content may be incorrect.">
            <a:extLst>
              <a:ext uri="{FF2B5EF4-FFF2-40B4-BE49-F238E27FC236}">
                <a16:creationId xmlns:a16="http://schemas.microsoft.com/office/drawing/2014/main" id="{6BBCB2D4-90DD-CB43-A66D-263A54E36A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2667000" y="857250"/>
            <a:ext cx="6858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07131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3BBDC8A-0B8D-4729-82B2-69D17F24F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4400" dirty="0"/>
              <a:t>OPE F-12 spelregler</a:t>
            </a:r>
            <a:br>
              <a:rPr lang="sv-SE" sz="4400" dirty="0"/>
            </a:b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A306DC6-131C-46BF-ABFD-B57427B9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973" y="1545907"/>
            <a:ext cx="10753725" cy="3766185"/>
          </a:xfrm>
        </p:spPr>
        <p:txBody>
          <a:bodyPr/>
          <a:lstStyle/>
          <a:p>
            <a:pPr marL="457200" indent="-457200">
              <a:buFont typeface="+mj-lt"/>
              <a:buAutoNum type="arabicParenR"/>
            </a:pPr>
            <a:endParaRPr lang="sv-SE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arenR"/>
            </a:pPr>
            <a:r>
              <a:rPr lang="sv-SE" dirty="0">
                <a:solidFill>
                  <a:schemeClr val="tx1"/>
                </a:solidFill>
              </a:rPr>
              <a:t>Säger HEJ och </a:t>
            </a:r>
            <a:r>
              <a:rPr lang="sv-SE" dirty="0" err="1">
                <a:solidFill>
                  <a:schemeClr val="tx1"/>
                </a:solidFill>
              </a:rPr>
              <a:t>hejjar</a:t>
            </a:r>
            <a:r>
              <a:rPr lang="sv-SE" dirty="0">
                <a:solidFill>
                  <a:schemeClr val="tx1"/>
                </a:solidFill>
              </a:rPr>
              <a:t> på alla i laget</a:t>
            </a:r>
          </a:p>
          <a:p>
            <a:pPr marL="457200" indent="-457200">
              <a:buFont typeface="+mj-lt"/>
              <a:buAutoNum type="arabicParenR"/>
            </a:pPr>
            <a:endParaRPr lang="sv-SE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arenR"/>
            </a:pPr>
            <a:r>
              <a:rPr lang="sv-SE" dirty="0">
                <a:solidFill>
                  <a:schemeClr val="tx1"/>
                </a:solidFill>
              </a:rPr>
              <a:t>Är en god kamrat, lämnar ingen utanför, ser sig uppmärksamt omkring</a:t>
            </a:r>
          </a:p>
          <a:p>
            <a:pPr marL="457200" indent="-457200">
              <a:buFont typeface="+mj-lt"/>
              <a:buAutoNum type="arabicParenR"/>
            </a:pPr>
            <a:endParaRPr lang="sv-SE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arenR"/>
            </a:pPr>
            <a:r>
              <a:rPr lang="sv-SE" dirty="0">
                <a:solidFill>
                  <a:schemeClr val="tx1"/>
                </a:solidFill>
              </a:rPr>
              <a:t>Lyssnar på tränarna och kommer förberedd</a:t>
            </a:r>
          </a:p>
          <a:p>
            <a:pPr marL="457200" indent="-457200">
              <a:buFont typeface="+mj-lt"/>
              <a:buAutoNum type="arabicParenR"/>
            </a:pPr>
            <a:endParaRPr lang="sv-SE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arenR"/>
            </a:pPr>
            <a:r>
              <a:rPr lang="sv-SE" dirty="0">
                <a:solidFill>
                  <a:schemeClr val="tx1"/>
                </a:solidFill>
              </a:rPr>
              <a:t>Vågar berätta om något känns jobbigt</a:t>
            </a:r>
          </a:p>
        </p:txBody>
      </p:sp>
    </p:spTree>
    <p:extLst>
      <p:ext uri="{BB962C8B-B14F-4D97-AF65-F5344CB8AC3E}">
        <p14:creationId xmlns:p14="http://schemas.microsoft.com/office/powerpoint/2010/main" val="3511160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67DDDB-E7A2-1933-C749-4773CF221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4" y="661686"/>
            <a:ext cx="10772775" cy="836898"/>
          </a:xfrm>
        </p:spPr>
        <p:txBody>
          <a:bodyPr>
            <a:normAutofit fontScale="90000"/>
          </a:bodyPr>
          <a:lstStyle/>
          <a:p>
            <a:br>
              <a:rPr lang="sv-SE" dirty="0"/>
            </a:br>
            <a:r>
              <a:rPr lang="sv-SE" dirty="0"/>
              <a:t>Schema</a:t>
            </a:r>
            <a:br>
              <a:rPr lang="sv-SE" dirty="0"/>
            </a:br>
            <a:br>
              <a:rPr lang="sv-SE" dirty="0"/>
            </a:b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36D3C06-8190-4B1B-4B7B-07BCBD323B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698" y="1248923"/>
            <a:ext cx="10753725" cy="5144062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chemeClr val="tx1"/>
                </a:solidFill>
              </a:rPr>
              <a:t> 17.00 – 17.20 </a:t>
            </a:r>
            <a:r>
              <a:rPr lang="sv-SE" sz="2800" dirty="0">
                <a:solidFill>
                  <a:schemeClr val="tx1"/>
                </a:solidFill>
              </a:rPr>
              <a:t>Introduktion, presentation av truppen, seriespel, cuper, träningsregler </a:t>
            </a:r>
            <a:r>
              <a:rPr lang="sv-SE" sz="2800" dirty="0" err="1">
                <a:solidFill>
                  <a:schemeClr val="tx1"/>
                </a:solidFill>
              </a:rPr>
              <a:t>etc</a:t>
            </a:r>
            <a:endParaRPr lang="sv-SE" sz="28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 17.20-17.45</a:t>
            </a:r>
            <a:r>
              <a:rPr lang="en-US" sz="2800" dirty="0">
                <a:solidFill>
                  <a:schemeClr val="tx1"/>
                </a:solidFill>
              </a:rPr>
              <a:t> Midda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 17.45-18.15 </a:t>
            </a:r>
            <a:r>
              <a:rPr lang="en-US" sz="2800" dirty="0">
                <a:solidFill>
                  <a:schemeClr val="tx1"/>
                </a:solidFill>
              </a:rPr>
              <a:t>Presentation av </a:t>
            </a:r>
            <a:r>
              <a:rPr lang="en-US" sz="2800" dirty="0" err="1">
                <a:solidFill>
                  <a:schemeClr val="tx1"/>
                </a:solidFill>
              </a:rPr>
              <a:t>värdegrundsfrågor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och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grupparbete</a:t>
            </a:r>
            <a:endParaRPr lang="en-US" sz="2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800" dirty="0">
                <a:solidFill>
                  <a:schemeClr val="tx1"/>
                </a:solidFill>
              </a:rPr>
              <a:t>	Vi </a:t>
            </a:r>
            <a:r>
              <a:rPr lang="en-US" sz="2800" dirty="0" err="1">
                <a:solidFill>
                  <a:schemeClr val="tx1"/>
                </a:solidFill>
              </a:rPr>
              <a:t>hämtar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efterrätt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och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sätter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oss</a:t>
            </a:r>
            <a:r>
              <a:rPr lang="en-US" sz="2800" dirty="0">
                <a:solidFill>
                  <a:schemeClr val="tx1"/>
                </a:solidFill>
              </a:rPr>
              <a:t> i </a:t>
            </a:r>
            <a:r>
              <a:rPr lang="en-US" sz="2800" dirty="0" err="1">
                <a:solidFill>
                  <a:schemeClr val="tx1"/>
                </a:solidFill>
              </a:rPr>
              <a:t>grupperna</a:t>
            </a:r>
            <a:endParaRPr lang="en-US" sz="28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 18.15-18.45 </a:t>
            </a:r>
            <a:r>
              <a:rPr lang="en-US" sz="2800" dirty="0">
                <a:solidFill>
                  <a:schemeClr val="tx1"/>
                </a:solidFill>
              </a:rPr>
              <a:t>Presentation av </a:t>
            </a:r>
            <a:r>
              <a:rPr lang="en-US" sz="2800" dirty="0" err="1">
                <a:solidFill>
                  <a:schemeClr val="tx1"/>
                </a:solidFill>
              </a:rPr>
              <a:t>färdigt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grupparbete</a:t>
            </a:r>
            <a:r>
              <a:rPr lang="en-US" sz="2800" dirty="0">
                <a:solidFill>
                  <a:schemeClr val="tx1"/>
                </a:solidFill>
              </a:rPr>
              <a:t>. </a:t>
            </a:r>
            <a:r>
              <a:rPr lang="en-US" sz="2800" dirty="0" err="1">
                <a:solidFill>
                  <a:schemeClr val="tx1"/>
                </a:solidFill>
              </a:rPr>
              <a:t>Uppdatera</a:t>
            </a:r>
            <a:r>
              <a:rPr lang="en-US" sz="2800" dirty="0">
                <a:solidFill>
                  <a:schemeClr val="tx1"/>
                </a:solidFill>
              </a:rPr>
              <a:t> F-12 </a:t>
            </a:r>
            <a:r>
              <a:rPr lang="en-US" sz="2800" dirty="0" err="1">
                <a:solidFill>
                  <a:schemeClr val="tx1"/>
                </a:solidFill>
              </a:rPr>
              <a:t>spelregler</a:t>
            </a:r>
            <a:r>
              <a:rPr lang="en-US" sz="2800" dirty="0">
                <a:solidFill>
                  <a:schemeClr val="tx1"/>
                </a:solidFill>
              </a:rPr>
              <a:t>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</a:rPr>
              <a:t> 18.45-19.00 Vi </a:t>
            </a:r>
            <a:r>
              <a:rPr lang="en-US" sz="2800" dirty="0" err="1">
                <a:solidFill>
                  <a:schemeClr val="tx1"/>
                </a:solidFill>
              </a:rPr>
              <a:t>rör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oss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ut</a:t>
            </a:r>
            <a:r>
              <a:rPr lang="en-US" sz="2800" dirty="0">
                <a:solidFill>
                  <a:schemeClr val="tx1"/>
                </a:solidFill>
              </a:rPr>
              <a:t> för </a:t>
            </a:r>
            <a:r>
              <a:rPr lang="en-US" sz="2800" dirty="0" err="1">
                <a:solidFill>
                  <a:schemeClr val="tx1"/>
                </a:solidFill>
              </a:rPr>
              <a:t>lekar</a:t>
            </a:r>
            <a:endParaRPr lang="en-US" sz="28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</a:rPr>
              <a:t> 19.00-20.00 </a:t>
            </a:r>
            <a:r>
              <a:rPr lang="en-US" sz="2800" dirty="0" err="1">
                <a:solidFill>
                  <a:schemeClr val="tx1"/>
                </a:solidFill>
              </a:rPr>
              <a:t>Lekar</a:t>
            </a:r>
            <a:endParaRPr lang="en-US" sz="28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</a:rPr>
              <a:t> 20.00-20.30 </a:t>
            </a:r>
            <a:r>
              <a:rPr lang="en-US" sz="2800" dirty="0" err="1">
                <a:solidFill>
                  <a:schemeClr val="tx1"/>
                </a:solidFill>
              </a:rPr>
              <a:t>Återsamling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glasläktaren</a:t>
            </a:r>
            <a:endParaRPr lang="en-US" sz="28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99105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E7AFEA-6C32-6BEF-1450-5FE94B45B39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Agnes A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Stella B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Asta B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Sofia B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Tova B</a:t>
            </a:r>
          </a:p>
          <a:p>
            <a:pPr marL="0" lvl="4" indent="0">
              <a:buNone/>
            </a:pPr>
            <a:r>
              <a:rPr lang="sv-SE" sz="1600" b="1" dirty="0" err="1">
                <a:solidFill>
                  <a:schemeClr val="tx1"/>
                </a:solidFill>
              </a:rPr>
              <a:t>Brendona</a:t>
            </a:r>
            <a:r>
              <a:rPr lang="sv-SE" sz="1600" b="1" dirty="0">
                <a:solidFill>
                  <a:schemeClr val="tx1"/>
                </a:solidFill>
              </a:rPr>
              <a:t> D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Tove EN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Tyra E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Melissa F</a:t>
            </a:r>
          </a:p>
          <a:p>
            <a:pPr marL="0" lvl="4" indent="0">
              <a:buNone/>
            </a:pPr>
            <a:r>
              <a:rPr lang="sv-SE" sz="1600" b="1" dirty="0" err="1">
                <a:solidFill>
                  <a:schemeClr val="tx1"/>
                </a:solidFill>
              </a:rPr>
              <a:t>Deshira</a:t>
            </a:r>
            <a:endParaRPr lang="sv-SE" sz="1600" b="1" dirty="0">
              <a:solidFill>
                <a:schemeClr val="tx1"/>
              </a:solidFill>
            </a:endParaRP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Leia G (paus)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Ellen H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Milla H</a:t>
            </a:r>
          </a:p>
          <a:p>
            <a:pPr marL="0" lvl="4" indent="0">
              <a:buNone/>
            </a:pPr>
            <a:r>
              <a:rPr lang="sv-SE" sz="1600" b="1" dirty="0">
                <a:solidFill>
                  <a:schemeClr val="tx1"/>
                </a:solidFill>
              </a:rPr>
              <a:t>Stina I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D500C43A-F57B-369B-94CE-F6DEA6E79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5400" b="1">
                <a:solidFill>
                  <a:schemeClr val="tx1"/>
                </a:solidFill>
              </a:rPr>
              <a:t>Truppen, just nu…</a:t>
            </a:r>
            <a:br>
              <a:rPr lang="sv-SE" sz="5400" b="1" dirty="0">
                <a:solidFill>
                  <a:schemeClr val="tx1"/>
                </a:solidFill>
              </a:rPr>
            </a:br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AB32EB3-3B6F-7CEE-1AEE-5D891E76C58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sz="1600" b="1" dirty="0" err="1">
                <a:solidFill>
                  <a:schemeClr val="tx1"/>
                </a:solidFill>
              </a:rPr>
              <a:t>Mbabzi</a:t>
            </a:r>
            <a:r>
              <a:rPr lang="sv-SE" sz="1600" b="1" dirty="0">
                <a:solidFill>
                  <a:schemeClr val="tx1"/>
                </a:solidFill>
              </a:rPr>
              <a:t> K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Leah K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Clara K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Sofia K</a:t>
            </a:r>
          </a:p>
          <a:p>
            <a:r>
              <a:rPr lang="sv-SE" sz="1600" b="1" dirty="0" err="1">
                <a:solidFill>
                  <a:schemeClr val="tx1"/>
                </a:solidFill>
              </a:rPr>
              <a:t>Solomie</a:t>
            </a:r>
            <a:r>
              <a:rPr lang="sv-SE" sz="1600" b="1" dirty="0">
                <a:solidFill>
                  <a:schemeClr val="tx1"/>
                </a:solidFill>
              </a:rPr>
              <a:t> M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Agnes M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Gabriella N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Ines N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Lea N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Tove N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Vera N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Lova O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Meja P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Signe S</a:t>
            </a:r>
          </a:p>
          <a:p>
            <a:endParaRPr lang="sv-SE" sz="1400" b="1" dirty="0">
              <a:solidFill>
                <a:schemeClr val="tx1"/>
              </a:solidFill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82D968D-0CF0-9DE9-AB36-354E8CB8EFAB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sv-SE" sz="1600" b="1" dirty="0">
                <a:solidFill>
                  <a:schemeClr val="tx1"/>
                </a:solidFill>
              </a:rPr>
              <a:t>Towa S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Signe W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Meja W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Tuva Å</a:t>
            </a:r>
          </a:p>
          <a:p>
            <a:r>
              <a:rPr lang="sv-SE" sz="1600" b="1" dirty="0" err="1">
                <a:solidFill>
                  <a:schemeClr val="tx1"/>
                </a:solidFill>
              </a:rPr>
              <a:t>Zvea</a:t>
            </a:r>
            <a:r>
              <a:rPr lang="sv-SE" sz="1600" b="1" dirty="0">
                <a:solidFill>
                  <a:schemeClr val="tx1"/>
                </a:solidFill>
              </a:rPr>
              <a:t> Ö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Molly Ö</a:t>
            </a:r>
          </a:p>
          <a:p>
            <a:endParaRPr lang="en-US" dirty="0"/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0BE59063-2B0A-1F71-1A6D-4C6AE3CA24F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73459370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7AB2516-6D84-4DC7-A7E9-2C143927D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1209086"/>
            <a:ext cx="3876848" cy="4064925"/>
          </a:xfrm>
        </p:spPr>
        <p:txBody>
          <a:bodyPr anchor="ctr">
            <a:normAutofit/>
          </a:bodyPr>
          <a:lstStyle/>
          <a:p>
            <a:br>
              <a:rPr lang="sv-SE" sz="2800" dirty="0"/>
            </a:br>
            <a:br>
              <a:rPr lang="sv-SE" sz="2800" dirty="0"/>
            </a:br>
            <a:r>
              <a:rPr lang="sv-SE" sz="2800" dirty="0"/>
              <a:t>Matcher/Seriespel</a:t>
            </a:r>
            <a:br>
              <a:rPr lang="sv-SE" sz="2800" dirty="0"/>
            </a:br>
            <a:br>
              <a:rPr lang="sv-SE" sz="2800" dirty="0"/>
            </a:br>
            <a:endParaRPr lang="sv-SE" sz="2800" dirty="0"/>
          </a:p>
        </p:txBody>
      </p:sp>
      <p:graphicFrame>
        <p:nvGraphicFramePr>
          <p:cNvPr id="5" name="Platshållare för innehåll 2">
            <a:extLst>
              <a:ext uri="{FF2B5EF4-FFF2-40B4-BE49-F238E27FC236}">
                <a16:creationId xmlns:a16="http://schemas.microsoft.com/office/drawing/2014/main" id="{B7226EA2-E255-933A-EEBE-AACAE5433B7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614416" y="457200"/>
          <a:ext cx="6117336" cy="56967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54403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7AB2516-6D84-4DC7-A7E9-2C143927D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1209086"/>
            <a:ext cx="3876848" cy="4064925"/>
          </a:xfrm>
        </p:spPr>
        <p:txBody>
          <a:bodyPr anchor="ctr">
            <a:normAutofit/>
          </a:bodyPr>
          <a:lstStyle/>
          <a:p>
            <a:br>
              <a:rPr lang="sv-SE" sz="2800" dirty="0"/>
            </a:br>
            <a:br>
              <a:rPr lang="sv-SE" sz="2800" dirty="0"/>
            </a:br>
            <a:r>
              <a:rPr lang="sv-SE" sz="2800" dirty="0"/>
              <a:t>Cuper- bokade</a:t>
            </a:r>
            <a:br>
              <a:rPr lang="sv-SE" sz="2800" dirty="0"/>
            </a:br>
            <a:r>
              <a:rPr lang="sv-SE" sz="1800" dirty="0"/>
              <a:t>Blir säkert några lokala utöver dessa</a:t>
            </a:r>
            <a:br>
              <a:rPr lang="sv-SE" sz="2800" dirty="0"/>
            </a:br>
            <a:br>
              <a:rPr lang="sv-SE" sz="2800" dirty="0"/>
            </a:br>
            <a:endParaRPr lang="sv-SE" sz="2800" dirty="0"/>
          </a:p>
        </p:txBody>
      </p:sp>
      <p:graphicFrame>
        <p:nvGraphicFramePr>
          <p:cNvPr id="5" name="Platshållare för innehåll 2">
            <a:extLst>
              <a:ext uri="{FF2B5EF4-FFF2-40B4-BE49-F238E27FC236}">
                <a16:creationId xmlns:a16="http://schemas.microsoft.com/office/drawing/2014/main" id="{B7226EA2-E255-933A-EEBE-AACAE5433B7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614416" y="457200"/>
          <a:ext cx="6117336" cy="56967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947809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9D70A99-FD48-43A2-9F5E-778C0C6805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ya medlemmar &amp; ”gamla” medlemm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00458D0-7330-4BBE-8938-B3A7BD1A0A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 b="1" kern="1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r vi något </a:t>
            </a:r>
            <a:r>
              <a:rPr lang="sv-SE" sz="1800" b="1" kern="1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xtak</a:t>
            </a:r>
            <a:r>
              <a:rPr lang="sv-SE" sz="1800" b="1" kern="1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sv-SE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0st – Blir det fler så tar vi en dialog med kansliet för att diskutera upplägg. 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sv-SE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t förslag innan vi når taket är att man ser över möjlighet att börja i F13, vi har inte pratat med F13 om detta ännu men kan bli aktuellt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 b="1" kern="1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år alla spela matcher?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sv-SE" sz="14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är spelaren kan r</a:t>
            </a:r>
            <a:r>
              <a:rPr lang="sv-SE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gler, grundläggande teknik 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sv-SE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a med på träningar, träningsflit.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sv-SE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äningsflit gäller även annan träning, detta ska i så fall skrivas in vid frånvaro på laget.se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 b="1" kern="1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passad träning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sv-SE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vårt</a:t>
            </a:r>
            <a:r>
              <a:rPr lang="sv-SE" sz="14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men vi kommer att försöka vissa träningar att anpassa svårighetsgraden. Ex passningar. Här kan man dela in i grupper, korta, mellan, långa. Viktigt att träningarna blir lagom utmanande för alla</a:t>
            </a:r>
            <a:r>
              <a:rPr lang="sv-SE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endParaRPr lang="sv-SE" sz="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20804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598594D-E74E-E02B-1A10-4BBB6E20A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CF93BA4-7F3C-6DEB-0C35-5D4C322FFC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267" y="-163076"/>
            <a:ext cx="10772775" cy="1658198"/>
          </a:xfrm>
        </p:spPr>
        <p:txBody>
          <a:bodyPr/>
          <a:lstStyle/>
          <a:p>
            <a:r>
              <a:rPr lang="sv-SE" dirty="0"/>
              <a:t>Spelregler 9 mot 9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DDEED6D-8888-C39C-B643-7F902BE446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sv-SE" sz="1800" b="1" kern="1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SE" dirty="0"/>
          </a:p>
        </p:txBody>
      </p:sp>
      <p:pic>
        <p:nvPicPr>
          <p:cNvPr id="4" name="Bildobjekt 3" descr="En bild som visar text, skärmbild, Teckensnitt, nummer&#10;&#10;AI-genererat innehåll kan vara felaktigt.">
            <a:extLst>
              <a:ext uri="{FF2B5EF4-FFF2-40B4-BE49-F238E27FC236}">
                <a16:creationId xmlns:a16="http://schemas.microsoft.com/office/drawing/2014/main" id="{CBAF94FF-7047-FA49-D951-DF0102ED4C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060" y="1168400"/>
            <a:ext cx="6000750" cy="5029200"/>
          </a:xfrm>
          <a:prstGeom prst="rect">
            <a:avLst/>
          </a:prstGeom>
        </p:spPr>
      </p:pic>
      <p:pic>
        <p:nvPicPr>
          <p:cNvPr id="5" name="Bildobjekt 4" descr="En bild som visar text, skärmbild, Teckensnitt&#10;&#10;AI-genererat innehåll kan vara felaktigt.">
            <a:extLst>
              <a:ext uri="{FF2B5EF4-FFF2-40B4-BE49-F238E27FC236}">
                <a16:creationId xmlns:a16="http://schemas.microsoft.com/office/drawing/2014/main" id="{5F1BE442-1E80-6603-60DF-7017AD6B7C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8872" y="1166812"/>
            <a:ext cx="5067300" cy="3000375"/>
          </a:xfrm>
          <a:prstGeom prst="rect">
            <a:avLst/>
          </a:prstGeom>
        </p:spPr>
      </p:pic>
      <p:pic>
        <p:nvPicPr>
          <p:cNvPr id="6" name="Bildobjekt 5" descr="En bild som visar text, skärmbild, Teckensnitt, nummer&#10;&#10;AI-genererat innehåll kan vara felaktigt.">
            <a:extLst>
              <a:ext uri="{FF2B5EF4-FFF2-40B4-BE49-F238E27FC236}">
                <a16:creationId xmlns:a16="http://schemas.microsoft.com/office/drawing/2014/main" id="{9E5717E3-E755-FEE6-8826-940023E1F5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5972" y="4867895"/>
            <a:ext cx="5371273" cy="132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6409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48EA139-704D-7364-21AA-DD009E1AD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0E14A02-323F-CC55-2920-2A49710A4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Calibri Light"/>
                <a:cs typeface="Calibri Light"/>
              </a:rPr>
              <a:t>Offside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D2C118D-0072-0E25-151B-265503E0DE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sv-SE" sz="1400" kern="10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Calibri Light"/>
              <a:ea typeface="Calibri Light"/>
              <a:cs typeface="Calibri Light"/>
            </a:endParaRPr>
          </a:p>
          <a:p>
            <a:endParaRPr lang="sv-SE" dirty="0"/>
          </a:p>
        </p:txBody>
      </p:sp>
      <p:pic>
        <p:nvPicPr>
          <p:cNvPr id="4" name="Bildobjekt 3" descr="En bild som visar skärmbild, grön, diagram, cirkel&#10;&#10;AI-genererat innehåll kan vara felaktigt.">
            <a:extLst>
              <a:ext uri="{FF2B5EF4-FFF2-40B4-BE49-F238E27FC236}">
                <a16:creationId xmlns:a16="http://schemas.microsoft.com/office/drawing/2014/main" id="{64ABDA4F-B7B5-D092-8E81-3BC490003E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502" y="2389951"/>
            <a:ext cx="3638550" cy="3571875"/>
          </a:xfrm>
          <a:prstGeom prst="rect">
            <a:avLst/>
          </a:prstGeom>
        </p:spPr>
      </p:pic>
      <p:pic>
        <p:nvPicPr>
          <p:cNvPr id="5" name="Bildobjekt 4" descr="En bild som visar skärmbild, grön, cirkel, diagram&#10;&#10;AI-genererat innehåll kan vara felaktigt.">
            <a:extLst>
              <a:ext uri="{FF2B5EF4-FFF2-40B4-BE49-F238E27FC236}">
                <a16:creationId xmlns:a16="http://schemas.microsoft.com/office/drawing/2014/main" id="{EC3D0C78-4908-5B19-C0B8-733343C63E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928" y="2360682"/>
            <a:ext cx="3590925" cy="3638550"/>
          </a:xfrm>
          <a:prstGeom prst="rect">
            <a:avLst/>
          </a:prstGeom>
        </p:spPr>
      </p:pic>
      <p:pic>
        <p:nvPicPr>
          <p:cNvPr id="6" name="Bildobjekt 5" descr="En bild som visar grön, skärmbild, cirkel, design&#10;&#10;AI-genererat innehåll kan vara felaktigt.">
            <a:extLst>
              <a:ext uri="{FF2B5EF4-FFF2-40B4-BE49-F238E27FC236}">
                <a16:creationId xmlns:a16="http://schemas.microsoft.com/office/drawing/2014/main" id="{D3F5F64D-E043-26FB-49FC-D94FBC31FA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9587" y="2387738"/>
            <a:ext cx="3552825" cy="3562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4011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3BBDC8A-0B8D-4729-82B2-69D17F24F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4400" dirty="0"/>
              <a:t>Förväntningar</a:t>
            </a:r>
            <a:br>
              <a:rPr lang="sv-SE" sz="4400" dirty="0"/>
            </a:b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A306DC6-131C-46BF-ABFD-B57427B9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698" y="2049780"/>
            <a:ext cx="10753725" cy="3766185"/>
          </a:xfrm>
        </p:spPr>
        <p:txBody>
          <a:bodyPr/>
          <a:lstStyle/>
          <a:p>
            <a:r>
              <a:rPr lang="sv-SE" sz="1800" kern="1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Fokus på träningarna- kom gärna 10 min innan för att hinna göra sig klar och prata med kompisar</a:t>
            </a:r>
          </a:p>
          <a:p>
            <a:r>
              <a:rPr lang="sv-SE" sz="1800" kern="1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Vattenflaska, benskydd, ta ur örhängen, fått i sig mat innan träning så att man orkar- vad är bra mat?</a:t>
            </a:r>
          </a:p>
          <a:p>
            <a:r>
              <a:rPr lang="sv-SE" sz="1800" kern="1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vara på kallelser, detta för att vi ska kunna planera träningen bättre. Svara så fort ni vet om barnet kommer eller inte, skriv gärna in varför om man inte kan</a:t>
            </a:r>
          </a:p>
          <a:p>
            <a:r>
              <a:rPr lang="sv-SE" sz="1800" kern="1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Vinner som ett lag, förlorar som ett lag. Tacka domare och motspelare, inte gnälla på domare. </a:t>
            </a:r>
          </a:p>
          <a:p>
            <a:r>
              <a:rPr lang="sv-SE" sz="1800" kern="1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tt ni säger till om ert barn behöver extra stöd med något? </a:t>
            </a:r>
          </a:p>
          <a:p>
            <a:endParaRPr lang="sv-SE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240230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ropolitan">
  <a:themeElements>
    <a:clrScheme name="Metropolitan">
      <a:dk1>
        <a:srgbClr val="000000"/>
      </a:dk1>
      <a:lt1>
        <a:srgbClr val="FFFFFF"/>
      </a:lt1>
      <a:dk2>
        <a:srgbClr val="303034"/>
      </a:dk2>
      <a:lt2>
        <a:srgbClr val="DFDFE4"/>
      </a:lt2>
      <a:accent1>
        <a:srgbClr val="00AEEF"/>
      </a:accent1>
      <a:accent2>
        <a:srgbClr val="8CC600"/>
      </a:accent2>
      <a:accent3>
        <a:srgbClr val="FFBE00"/>
      </a:accent3>
      <a:accent4>
        <a:srgbClr val="FF0097"/>
      </a:accent4>
      <a:accent5>
        <a:srgbClr val="0071BC"/>
      </a:accent5>
      <a:accent6>
        <a:srgbClr val="FF8600"/>
      </a:accent6>
      <a:hlink>
        <a:srgbClr val="2424F0"/>
      </a:hlink>
      <a:folHlink>
        <a:srgbClr val="808080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9FF7CA0D-8839-4012-B51C-B152F9BD65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TemplafySlideTemplateConfiguration><![CDATA[{"slideVersion":1,"isValidatorEnabled":false,"isLocked":false,"elementsMetadata":[],"slideId":"1131510869412544514","enableDocumentContentUpdater":fals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C0B5E8C28FBB4DB6BB6E6547CA8A70" ma:contentTypeVersion="14" ma:contentTypeDescription="Create a new document." ma:contentTypeScope="" ma:versionID="4c6617896dbd6066d418e5883b6ed562">
  <xsd:schema xmlns:xsd="http://www.w3.org/2001/XMLSchema" xmlns:xs="http://www.w3.org/2001/XMLSchema" xmlns:p="http://schemas.microsoft.com/office/2006/metadata/properties" xmlns:ns3="8f1e2369-70da-40d7-b978-99d0855b91b8" xmlns:ns4="8ee28f6f-733e-446a-845c-015b8614e1f7" targetNamespace="http://schemas.microsoft.com/office/2006/metadata/properties" ma:root="true" ma:fieldsID="7beb73ffafaeb73ea273bd43962ac528" ns3:_="" ns4:_="">
    <xsd:import namespace="8f1e2369-70da-40d7-b978-99d0855b91b8"/>
    <xsd:import namespace="8ee28f6f-733e-446a-845c-015b8614e1f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1e2369-70da-40d7-b978-99d0855b91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e28f6f-733e-446a-845c-015b8614e1f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FormConfiguration><![CDATA[{"formFields":[{"distinct":false,"hideIfNoUserInteractionRequired":false,"required":false,"autoSelectFirstOption":false,"helpTexts":{},"spacing":{},"shareValue":false,"type":"dropDown","dataSourceName":"Audience_Storefront","dataSourceFieldName":"InternalExternal","filterCondition":{"type":"and","conditions":[{"type":"userProfileFieldMatch","userProfileFieldName":"DocumentLanguage","dataSourceFieldName":"LanguageRef"},{"type":"userProfileFieldMatch","userProfileFieldName":"OfferingPortfolio","dataSourceFieldName":"OfferingPortfolioRef"}]},"name":"InternalExternal","label":"Audience"}],"formDataEntries":[{"name":"InternalExternal","value":"CokMcPqsTYKfuyaumXAkgg=="}]}]]></TemplafyFormConfiguration>
</file>

<file path=customXml/item5.xml><?xml version="1.0" encoding="utf-8"?>
<TemplafyTemplateConfiguration><![CDATA[{"elementsMetadata":[{"type":"shape","id":"c9a75cfc-7a39-4fad-a03e-2c362df112ec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29409f92-e03f-4e16-b455-cb619ea8cb11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09ac6058-b136-4f0d-94f6-515942424fd1","elementConfiguration":{"inheritDimensions":"{{InheritDimensions.InheritNone}}","width":"{{UserProfile.LegalEntity.LogoRef.PpWidescreenNormLogoWidth}}","height":"","image":"{{UserProfile.LegalEntity.LogoRef.ImageFileRef.ImageFile}}","visibility":"","type":"image","disableUpdates":false}},{"type":"shape","id":"4e38b726-7b85-4e6c-890b-5b716d616e30","elementConfiguration":{"binding":"{{IfElse(Equals(UserProfile.DocumentLanguage.LanguageRef.Name, \"Icelandic (Iceland) (is-IS)\"), IfElse(Equals(Form.InternalExternal.AudienceType, \"Internal\"), StringJoin(\"\n\n\", UserProfile.LegalEntity.DisclaimerRef.DisclaimerS_ISL, UserProfile.LegalEntity.DisclaimerRef.DisclaimerP_Brand, UserProfile.LegalEntity.DisclaimerRef.DisclaimerD_Internal_ISL, StringJoin(\" \", UserProfile.LegalEntity.DisclaimerRef.Confidential_Internal_ISL, UserProfile.LegalEntity.DisclaimerRef.DisclaimerC, UserProfile.LegalEntity.DisclaimerRef.ActiveYearPPTBlank, UserProfile.LegalEntity.LegalEntity)), IfElse(Equals(Form.InternalExternal.AudienceType, \"External\"), StringJoin(\"\n\n\", UserProfile.LegalEntity.DisclaimerRef.DisclaimerS_ISL, UserProfile.LegalEntity.DisclaimerRef.DisclaimerP_Brand, UserProfile.LegalEntity.DisclaimerRef.DisclaimerP_ISL, UserProfile.LegalEntity.DisclaimerRef.DisclaimerD_External_ISL, StringJoin(\" \", UserProfile.LegalEntity.DisclaimerRef.DisclaimerC, UserProfile.LegalEntity.DisclaimerRef.ActiveYearPPTBlank, UserProfile.LegalEntity.LegalEntity)), IfElse(Equals(Form.InternalExternal.AudienceType, \"Client advice external\"), StringJoin(\"\n\n\", UserProfile.LegalEntity.DisclaimerRef.DisclaimerS_ISL, UserProfile.LegalEntity.DisclaimerRef.DisclaimerP_Brand, UserProfile.LegalEntity.DisclaimerRef.DisclaimerP_ISL, UserProfile.LegalEntity.DisclaimerRef.DisclaimerD_ClientExternal_ISL, StringJoin(\" \", UserProfile.LegalEntity.DisclaimerRef.DisclaimerC, UserProfile.LegalEntity.DisclaimerRef.ActiveYearPPTBlank, UserProfile.LegalEntity.LegalEntity)), StringJoin(\"\n\n\", UserProfile.LegalEntity.DisclaimerRef.DisclaimerS_ISL, UserProfile.LegalEntity.DisclaimerRef.DisclaimerP_Brand, UserProfile.LegalEntity.DisclaimerRef.DisclaimerP_ISL, UserProfile.LegalEntity.DisclaimerRef.DisclaimerD_External_ISL, StringJoin(\" \", UserProfile.LegalEntity.DisclaimerRef.DisclaimerC, UserProfile.LegalEntity.DisclaimerRef.ActiveYearPPTBlank, UserProfile.LegalEntity.LegalEntity))))), IfElse(Equals(Form.InternalExternal.AudienceType, \"Internal\"), StringJoin(\"\n\n\", UserProfile.LegalEntity.DisclaimerRef.DisclaimerS, UserProfile.LegalEntity.DisclaimerRef.DisclaimerP_Brand, UserProfile.LegalEntity.DisclaimerRef.DisclaimerD_Internal, StringJoin(\" \", UserProfile.LegalEntity.DisclaimerRef.Confidential_Internal, UserProfile.LegalEntity.DisclaimerRef.DisclaimerC, UserProfile.LegalEntity.DisclaimerRef.ActiveYearPPTBlank, UserProfile.LegalEntity.LegalEntity)), IfElse(Equals(Form.InternalExternal.AudienceType, \"External\"), StringJoin(\"\n\n\", UserProfile.LegalEntity.DisclaimerRef.DisclaimerS, UserProfile.LegalEntity.DisclaimerRef.DisclaimerP_Brand, UserProfile.LegalEntity.DisclaimerRef.DisclaimerP, UserProfile.LegalEntity.DisclaimerRef.DisclaimerD_External, StringJoin(\" \", UserProfile.LegalEntity.DisclaimerRef.DisclaimerC, UserProfile.LegalEntity.DisclaimerRef.ActiveYearPPTBlank, UserProfile.LegalEntity.LegalEntity)), IfElse(Equals(Form.InternalExternal.AudienceType, \"Client advice external\"), StringJoin(\"\n\n\", UserProfile.LegalEntity.DisclaimerRef.DisclaimerS, UserProfile.LegalEntity.DisclaimerRef.DisclaimerP_Brand, UserProfile.LegalEntity.DisclaimerRef.DisclaimerP, UserProfile.LegalEntity.DisclaimerRef.DisclaimerD_ClientExternal, StringJoin(\" \", UserProfile.LegalEntity.DisclaimerRef.DisclaimerC, UserProfile.LegalEntity.DisclaimerRef.ActiveYearPPTBlank, UserProfile.LegalEntity.LegalEntity)), StringJoin(\"\n\n\", UserProfile.LegalEntity.DisclaimerRef.DisclaimerS, UserProfile.LegalEntity.DisclaimerRef.DisclaimerP_Brand, UserProfile.LegalEntity.DisclaimerRef.DisclaimerP, UserProfile.LegalEntity.DisclaimerRef.DisclaimerD_External, StringJoin(\" \", UserProfile.LegalEntity.DisclaimerRef.DisclaimerC, UserProfile.LegalEntity.DisclaimerRef.ActiveYearPPTBlank, UserProfile.LegalEntity.LegalEntity))))))}}","visibility":"","type":"text","disableUpdates":false}},{"type":"shape","id":"5051d2d9-93ee-46ed-a98b-40ee35bf7c75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d1c625b4-2c89-4e76-acc2-83dd18764efd","elementConfiguration":{"inheritDimensions":"{{InheritDimensions.InheritNone}}","width":"{{UserProfile.LegalEntity.LogoRef.PpWidescreenNormLogoWidth}}","height":"","image":"{{UserProfile.LegalEntity.LogoRef.ImageWhiteFileRef.ImageFile}}","visibility":"","type":"image","disableUpdates":false}},{"type":"shape","id":"3225b5fd-6b46-4f1c-a430-b057817ceaca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0eec9b49-fdcd-42b7-a6d0-aaf7c1d3b949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36df622f-1601-425f-8c87-dbca60c0f79a","elementConfiguration":{"inheritDimensions":"{{InheritDimensions.InheritNone}}","width":"{{UserProfile.LegalEntity.LogoRef.PpWidescreenNormLogoWidth}}","height":"","image":"{{UserProfile.LegalEntity.LogoRef.ImageWhiteFileRef.ImageFile}}","visibility":"","type":"image","disableUpdates":false}},{"type":"shape","id":"58c6c9ed-ee13-40a8-b6ff-398ea4302e45","elementConfiguration":{"inheritDimensions":"{{InheritDimensions.InheritNone}}","width":"{{UserProfile.LegalEntity.LogoRef.PpWidescreenNormLogoWidth}}","height":"","image":"{{UserProfile.LegalEntity.LogoRef.ImageFileRef.ImageFile}}","visibility":"","type":"image","disableUpdates":false}},{"type":"shape","id":"b0e5412d-c632-4ea2-ae21-5839add9ec17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403f63be-a34a-4a4f-9088-6044f33174d6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8f436200-9bd8-4b55-a968-1425df611dec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87f7c814-a5ec-4419-b939-d93f08c5f9e5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7708ba23-ae99-4c79-97c8-0e1003ec9c12","elementConfiguration":{"inheritDimensions":"{{InheritDimensions.InheritNone}}","width":"{{UserProfile.LegalEntity.LogoRef.PpWidescreenNormLogoWidth}}","height":"","image":"{{UserProfile.LegalEntity.LogoRef.ImageWhiteFileRef.ImageFile}}","visibility":"","type":"image","disableUpdates":false}},{"type":"shape","id":"65afb09c-5c6a-4aa1-89c8-1f80c2f57b45","elementConfiguration":{"binding":"{{IfElse(Equals(UserProfile.DocumentLanguage.LanguageRef.Name, \"Icelandic (Iceland) (is-IS)\"), IfElse(Equals(Form.InternalExternal.AudienceType, \"Internal\"), StringJoin(\"\n\n\", UserProfile.LegalEntity.DisclaimerRef.DisclaimerS_ISL, UserProfile.LegalEntity.DisclaimerRef.DisclaimerP_Brand, UserProfile.LegalEntity.DisclaimerRef.DisclaimerD_Internal_ISL, StringJoin(\" \", UserProfile.LegalEntity.DisclaimerRef.Confidential_Internal_ISL, UserProfile.LegalEntity.DisclaimerRef.DisclaimerC, UserProfile.LegalEntity.DisclaimerRef.ActiveYearPPTBlank, UserProfile.LegalEntity.LegalEntity)), IfElse(Equals(Form.InternalExternal.AudienceType, \"External\"), StringJoin(\"\n\n\", UserProfile.LegalEntity.DisclaimerRef.DisclaimerS_ISL, UserProfile.LegalEntity.DisclaimerRef.DisclaimerP_Brand, UserProfile.LegalEntity.DisclaimerRef.DisclaimerP_ISL, UserProfile.LegalEntity.DisclaimerRef.DisclaimerD_External_ISL, StringJoin(\" \", UserProfile.LegalEntity.DisclaimerRef.DisclaimerC, UserProfile.LegalEntity.DisclaimerRef.ActiveYearPPTBlank, UserProfile.LegalEntity.LegalEntity)), IfElse(Equals(Form.InternalExternal.AudienceType, \"Client advice external\"), StringJoin(\"\n\n\", UserProfile.LegalEntity.DisclaimerRef.DisclaimerS_ISL, UserProfile.LegalEntity.DisclaimerRef.DisclaimerP_Brand, UserProfile.LegalEntity.DisclaimerRef.DisclaimerP_ISL, UserProfile.LegalEntity.DisclaimerRef.DisclaimerD_ClientExternal_ISL, StringJoin(\" \", UserProfile.LegalEntity.DisclaimerRef.DisclaimerC, UserProfile.LegalEntity.DisclaimerRef.ActiveYearPPTBlank, UserProfile.LegalEntity.LegalEntity)), StringJoin(\"\n\n\", UserProfile.LegalEntity.DisclaimerRef.DisclaimerS_ISL, UserProfile.LegalEntity.DisclaimerRef.DisclaimerP_Brand, UserProfile.LegalEntity.DisclaimerRef.DisclaimerP_ISL, UserProfile.LegalEntity.DisclaimerRef.DisclaimerD_External_ISL, StringJoin(\" \", UserProfile.LegalEntity.DisclaimerRef.DisclaimerC, UserProfile.LegalEntity.DisclaimerRef.ActiveYearPPTBlank, UserProfile.LegalEntity.LegalEntity))))), IfElse(Equals(Form.InternalExternal.AudienceType, \"Internal\"), StringJoin(\"\n\n\", UserProfile.LegalEntity.DisclaimerRef.DisclaimerS, UserProfile.LegalEntity.DisclaimerRef.DisclaimerP_Brand, UserProfile.LegalEntity.DisclaimerRef.DisclaimerD_Internal, StringJoin(\" \", UserProfile.LegalEntity.DisclaimerRef.Confidential_Internal, UserProfile.LegalEntity.DisclaimerRef.DisclaimerC, UserProfile.LegalEntity.DisclaimerRef.ActiveYearPPTBlank, UserProfile.LegalEntity.LegalEntity)), IfElse(Equals(Form.InternalExternal.AudienceType, \"External\"), StringJoin(\"\n\n\", UserProfile.LegalEntity.DisclaimerRef.DisclaimerS, UserProfile.LegalEntity.DisclaimerRef.DisclaimerP_Brand, UserProfile.LegalEntity.DisclaimerRef.DisclaimerP, UserProfile.LegalEntity.DisclaimerRef.DisclaimerD_External, StringJoin(\" \", UserProfile.LegalEntity.DisclaimerRef.DisclaimerC, UserProfile.LegalEntity.DisclaimerRef.ActiveYearPPTBlank, UserProfile.LegalEntity.LegalEntity)), IfElse(Equals(Form.InternalExternal.AudienceType, \"Client advice external\"), StringJoin(\"\n\n\", UserProfile.LegalEntity.DisclaimerRef.DisclaimerS, UserProfile.LegalEntity.DisclaimerRef.DisclaimerP_Brand, UserProfile.LegalEntity.DisclaimerRef.DisclaimerP, UserProfile.LegalEntity.DisclaimerRef.DisclaimerD_ClientExternal, StringJoin(\" \", UserProfile.LegalEntity.DisclaimerRef.DisclaimerC, UserProfile.LegalEntity.DisclaimerRef.ActiveYearPPTBlank, UserProfile.LegalEntity.LegalEntity)), StringJoin(\"\n\n\", UserProfile.LegalEntity.DisclaimerRef.DisclaimerS, UserProfile.LegalEntity.DisclaimerRef.DisclaimerP_Brand, UserProfile.LegalEntity.DisclaimerRef.DisclaimerP, UserProfile.LegalEntity.DisclaimerRef.DisclaimerD_External, StringJoin(\" \", UserProfile.LegalEntity.DisclaimerRef.DisclaimerC, UserProfile.LegalEntity.DisclaimerRef.ActiveYearPPTBlank, UserProfile.LegalEntity.LegalEntity))))))}}","visibility":"","type":"text","disableUpdates":false}},{"type":"shape","id":"9d32fa7e-1168-4e42-928f-1fe8dc913157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06d261a4-d065-4da9-acdb-ec61578e7868","elementConfiguration":{"binding":"{{StringJoin(\" \", UserProfile.LegalEntity.DisclaimerRef.DisclaimerC, UserProfile.LegalEntity.DisclaimerRef.ActiveYearPPTBlank, UserProfile.LegalEntity.LegalEntity)}}","visibility":"","type":"text","disableUpdates":false}},{"type":"shape","id":"6f883f7f-58ed-41f2-8f37-97f5afe295d6","elementConfiguration":{"binding":"{{StringJoin(\" \", UserProfile.LegalEntity.DisclaimerRef.DisclaimerC, UserProfile.LegalEntity.DisclaimerRef.ActiveYearPPTBlank, UserProfile.LegalEntity.LegalEntity)}}","visibility":"","type":"text","disableUpdates":false}}],"transformationConfigurations":[{"language":"{{UserProfile.DocumentLanguage.LanguageRef.Language}}","disableUpdates":false,"type":"proofingLanguage"}],"templateName":"Blank_2025-03-05","templateDescription":"","enableDocumentContentUpdater":true,"version":"2.0"}]]></Templafy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1131510869412544514","enableDocumentContentUpdater":false,"version":"2.0"}]]></TemplafySlideTemplateConfiguration>
</file>

<file path=customXml/item8.xml><?xml version="1.0" encoding="utf-8"?>
<TemplafySlideTemplateConfiguration><![CDATA[{"slideVersion":1,"isValidatorEnabled":false,"isLocked":false,"elementsMetadata":[],"slideId":"1131510869412544514","enableDocumentContentUpdater":false,"version":"2.0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141B0BFA-154F-4FE6-8C46-2B0CF6A6ECED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E2DEEF2F-723F-4D5F-94DC-B82DFB1AA502}">
  <ds:schemaRefs/>
</ds:datastoreItem>
</file>

<file path=customXml/itemProps11.xml><?xml version="1.0" encoding="utf-8"?>
<ds:datastoreItem xmlns:ds="http://schemas.openxmlformats.org/officeDocument/2006/customXml" ds:itemID="{9C889136-2E1C-45BC-A784-4505CE81B399}">
  <ds:schemaRefs/>
</ds:datastoreItem>
</file>

<file path=customXml/itemProps2.xml><?xml version="1.0" encoding="utf-8"?>
<ds:datastoreItem xmlns:ds="http://schemas.openxmlformats.org/officeDocument/2006/customXml" ds:itemID="{2EEE0193-3346-4FA1-A6C3-2BE7C7DE3BC4}">
  <ds:schemaRefs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terms/"/>
    <ds:schemaRef ds:uri="8f1e2369-70da-40d7-b978-99d0855b91b8"/>
    <ds:schemaRef ds:uri="http://www.w3.org/XML/1998/namespace"/>
    <ds:schemaRef ds:uri="http://purl.org/dc/elements/1.1/"/>
    <ds:schemaRef ds:uri="http://schemas.openxmlformats.org/package/2006/metadata/core-properties"/>
    <ds:schemaRef ds:uri="8ee28f6f-733e-446a-845c-015b8614e1f7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186733A4-93AF-4934-A5DC-8C070E6AFE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1e2369-70da-40d7-b978-99d0855b91b8"/>
    <ds:schemaRef ds:uri="8ee28f6f-733e-446a-845c-015b8614e1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B2FCC18-0D02-43EB-B8D3-BAED06786C65}">
  <ds:schemaRefs/>
</ds:datastoreItem>
</file>

<file path=customXml/itemProps5.xml><?xml version="1.0" encoding="utf-8"?>
<ds:datastoreItem xmlns:ds="http://schemas.openxmlformats.org/officeDocument/2006/customXml" ds:itemID="{2A4FC547-1520-448D-9D9C-9245C0DF5F21}">
  <ds:schemaRefs/>
</ds:datastoreItem>
</file>

<file path=customXml/itemProps6.xml><?xml version="1.0" encoding="utf-8"?>
<ds:datastoreItem xmlns:ds="http://schemas.openxmlformats.org/officeDocument/2006/customXml" ds:itemID="{A3877FEF-2D20-4B3E-826A-DB0BC79E6AED}">
  <ds:schemaRefs/>
</ds:datastoreItem>
</file>

<file path=customXml/itemProps7.xml><?xml version="1.0" encoding="utf-8"?>
<ds:datastoreItem xmlns:ds="http://schemas.openxmlformats.org/officeDocument/2006/customXml" ds:itemID="{00C2EEE7-C38A-4C8A-B194-1923E570DD06}">
  <ds:schemaRefs/>
</ds:datastoreItem>
</file>

<file path=customXml/itemProps8.xml><?xml version="1.0" encoding="utf-8"?>
<ds:datastoreItem xmlns:ds="http://schemas.openxmlformats.org/officeDocument/2006/customXml" ds:itemID="{5924156C-BE88-438D-91CD-49B8675AA3FA}">
  <ds:schemaRefs/>
</ds:datastoreItem>
</file>

<file path=customXml/itemProps9.xml><?xml version="1.0" encoding="utf-8"?>
<ds:datastoreItem xmlns:ds="http://schemas.openxmlformats.org/officeDocument/2006/customXml" ds:itemID="{F14B8578-CC97-474D-930A-538B18A88EA6}">
  <ds:schemaRefs/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5</TotalTime>
  <Words>546</Words>
  <Application>Microsoft Office PowerPoint</Application>
  <PresentationFormat>Widescreen</PresentationFormat>
  <Paragraphs>12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Calibri Light</vt:lpstr>
      <vt:lpstr>Metropolitan</vt:lpstr>
      <vt:lpstr>think-cell Slide</vt:lpstr>
      <vt:lpstr>PowerPoint Presentation</vt:lpstr>
      <vt:lpstr> Schema  </vt:lpstr>
      <vt:lpstr>Truppen, just nu… </vt:lpstr>
      <vt:lpstr>  Matcher/Seriespel  </vt:lpstr>
      <vt:lpstr>  Cuper- bokade Blir säkert några lokala utöver dessa  </vt:lpstr>
      <vt:lpstr>Nya medlemmar &amp; ”gamla” medlemmar</vt:lpstr>
      <vt:lpstr>Spelregler 9 mot 9</vt:lpstr>
      <vt:lpstr>Offside?</vt:lpstr>
      <vt:lpstr>Förväntningar </vt:lpstr>
      <vt:lpstr>Grupper </vt:lpstr>
      <vt:lpstr>PowerPoint Presentation</vt:lpstr>
      <vt:lpstr>OPE F-12 spelregler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  heading two lines</dc:title>
  <dc:creator>Dana Smith, Mercedes Maria</dc:creator>
  <cp:lastModifiedBy>Bergqvist, Anna</cp:lastModifiedBy>
  <cp:revision>109</cp:revision>
  <dcterms:created xsi:type="dcterms:W3CDTF">2025-03-07T15:30:23Z</dcterms:created>
  <dcterms:modified xsi:type="dcterms:W3CDTF">2026-04-20T10:5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4-30T22:39:5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db8dcbfc-9da1-4960-b70d-4d360a6d5a6c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97C0B5E8C28FBB4DB6BB6E6547CA8A70</vt:lpwstr>
  </property>
  <property fmtid="{D5CDD505-2E9C-101B-9397-08002B2CF9AE}" pid="10" name="TemplafyTimeStamp">
    <vt:lpwstr>2025-03-05T14:20:02</vt:lpwstr>
  </property>
  <property fmtid="{D5CDD505-2E9C-101B-9397-08002B2CF9AE}" pid="11" name="TemplafyTenantId">
    <vt:lpwstr>deloittenordics</vt:lpwstr>
  </property>
  <property fmtid="{D5CDD505-2E9C-101B-9397-08002B2CF9AE}" pid="12" name="TemplafyTemplateId">
    <vt:lpwstr>1131510861036519750</vt:lpwstr>
  </property>
  <property fmtid="{D5CDD505-2E9C-101B-9397-08002B2CF9AE}" pid="13" name="TemplafyUserProfileId">
    <vt:lpwstr>937571621329175216</vt:lpwstr>
  </property>
  <property fmtid="{D5CDD505-2E9C-101B-9397-08002B2CF9AE}" pid="14" name="TemplafyFromBlank">
    <vt:bool>true</vt:bool>
  </property>
  <property fmtid="{D5CDD505-2E9C-101B-9397-08002B2CF9AE}" pid="15" name="MSIP_Label_fcde3a35-8da8-4c7f-b979-2f5bf715068f_Enabled">
    <vt:lpwstr>true</vt:lpwstr>
  </property>
  <property fmtid="{D5CDD505-2E9C-101B-9397-08002B2CF9AE}" pid="16" name="MSIP_Label_fcde3a35-8da8-4c7f-b979-2f5bf715068f_SetDate">
    <vt:lpwstr>2025-04-13T10:57:41Z</vt:lpwstr>
  </property>
  <property fmtid="{D5CDD505-2E9C-101B-9397-08002B2CF9AE}" pid="17" name="MSIP_Label_fcde3a35-8da8-4c7f-b979-2f5bf715068f_Method">
    <vt:lpwstr>Privileged</vt:lpwstr>
  </property>
  <property fmtid="{D5CDD505-2E9C-101B-9397-08002B2CF9AE}" pid="18" name="MSIP_Label_fcde3a35-8da8-4c7f-b979-2f5bf715068f_Name">
    <vt:lpwstr>Publik</vt:lpwstr>
  </property>
  <property fmtid="{D5CDD505-2E9C-101B-9397-08002B2CF9AE}" pid="19" name="MSIP_Label_fcde3a35-8da8-4c7f-b979-2f5bf715068f_SiteId">
    <vt:lpwstr>0b3b45c6-70cd-4220-8bf9-a1daee8f0f45</vt:lpwstr>
  </property>
  <property fmtid="{D5CDD505-2E9C-101B-9397-08002B2CF9AE}" pid="20" name="MSIP_Label_fcde3a35-8da8-4c7f-b979-2f5bf715068f_ActionId">
    <vt:lpwstr>75d9e1a2-7ed1-4a2f-85ad-3afa6f3be5cc</vt:lpwstr>
  </property>
  <property fmtid="{D5CDD505-2E9C-101B-9397-08002B2CF9AE}" pid="21" name="MSIP_Label_fcde3a35-8da8-4c7f-b979-2f5bf715068f_ContentBits">
    <vt:lpwstr>0</vt:lpwstr>
  </property>
</Properties>
</file>